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3"/>
  </p:notesMasterIdLst>
  <p:sldIdLst>
    <p:sldId id="350" r:id="rId2"/>
    <p:sldId id="1205" r:id="rId3"/>
    <p:sldId id="1220" r:id="rId4"/>
    <p:sldId id="1206" r:id="rId5"/>
    <p:sldId id="1200" r:id="rId6"/>
    <p:sldId id="1222" r:id="rId7"/>
    <p:sldId id="1223" r:id="rId8"/>
    <p:sldId id="1224" r:id="rId9"/>
    <p:sldId id="1226" r:id="rId10"/>
    <p:sldId id="1211" r:id="rId11"/>
    <p:sldId id="1203" r:id="rId12"/>
    <p:sldId id="1229" r:id="rId13"/>
    <p:sldId id="1230" r:id="rId14"/>
    <p:sldId id="1231" r:id="rId15"/>
    <p:sldId id="1234" r:id="rId16"/>
    <p:sldId id="1237" r:id="rId17"/>
    <p:sldId id="1145" r:id="rId18"/>
    <p:sldId id="1146" r:id="rId19"/>
    <p:sldId id="1238" r:id="rId20"/>
    <p:sldId id="1233" r:id="rId21"/>
    <p:sldId id="1235" r:id="rId22"/>
  </p:sldIdLst>
  <p:sldSz cx="9144000" cy="5143500" type="screen16x9"/>
  <p:notesSz cx="7104063" cy="10234613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7D97379-590A-4825-927E-99B63B39BA9A}" v="2489" dt="2022-12-02T07:19:54.2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2" d="100"/>
          <a:sy n="52" d="100"/>
        </p:scale>
        <p:origin x="68" y="3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ina Ru" userId="a298bcda0a73aae4" providerId="LiveId" clId="{47D97379-590A-4825-927E-99B63B39BA9A}"/>
    <pc:docChg chg="undo redo custSel addSld delSld modSld sldOrd">
      <pc:chgData name="Stina Ru" userId="a298bcda0a73aae4" providerId="LiveId" clId="{47D97379-590A-4825-927E-99B63B39BA9A}" dt="2022-12-07T11:19:23.598" v="13063" actId="47"/>
      <pc:docMkLst>
        <pc:docMk/>
      </pc:docMkLst>
      <pc:sldChg chg="modSp add del mod">
        <pc:chgData name="Stina Ru" userId="a298bcda0a73aae4" providerId="LiveId" clId="{47D97379-590A-4825-927E-99B63B39BA9A}" dt="2022-12-02T07:09:53.432" v="12943" actId="47"/>
        <pc:sldMkLst>
          <pc:docMk/>
          <pc:sldMk cId="175173122" sldId="350"/>
        </pc:sldMkLst>
        <pc:spChg chg="mod">
          <ac:chgData name="Stina Ru" userId="a298bcda0a73aae4" providerId="LiveId" clId="{47D97379-590A-4825-927E-99B63B39BA9A}" dt="2022-11-28T18:08:02.060" v="3" actId="20577"/>
          <ac:spMkLst>
            <pc:docMk/>
            <pc:sldMk cId="175173122" sldId="350"/>
            <ac:spMk id="2" creationId="{00000000-0000-0000-0000-000000000000}"/>
          </ac:spMkLst>
        </pc:spChg>
      </pc:sldChg>
      <pc:sldChg chg="modSp mod">
        <pc:chgData name="Stina Ru" userId="a298bcda0a73aae4" providerId="LiveId" clId="{47D97379-590A-4825-927E-99B63B39BA9A}" dt="2022-11-30T10:08:21.227" v="12396" actId="113"/>
        <pc:sldMkLst>
          <pc:docMk/>
          <pc:sldMk cId="2230897240" sldId="1145"/>
        </pc:sldMkLst>
        <pc:spChg chg="mod">
          <ac:chgData name="Stina Ru" userId="a298bcda0a73aae4" providerId="LiveId" clId="{47D97379-590A-4825-927E-99B63B39BA9A}" dt="2022-11-28T23:22:24.482" v="2485" actId="20577"/>
          <ac:spMkLst>
            <pc:docMk/>
            <pc:sldMk cId="2230897240" sldId="1145"/>
            <ac:spMk id="2" creationId="{2E8E55A0-73B3-4565-BA58-ACE5F64229D6}"/>
          </ac:spMkLst>
        </pc:spChg>
        <pc:spChg chg="mod">
          <ac:chgData name="Stina Ru" userId="a298bcda0a73aae4" providerId="LiveId" clId="{47D97379-590A-4825-927E-99B63B39BA9A}" dt="2022-11-30T10:08:21.227" v="12396" actId="113"/>
          <ac:spMkLst>
            <pc:docMk/>
            <pc:sldMk cId="2230897240" sldId="1145"/>
            <ac:spMk id="9" creationId="{28CD78BF-FD21-4273-AC08-8CC747F9071D}"/>
          </ac:spMkLst>
        </pc:spChg>
      </pc:sldChg>
      <pc:sldChg chg="modSp mod">
        <pc:chgData name="Stina Ru" userId="a298bcda0a73aae4" providerId="LiveId" clId="{47D97379-590A-4825-927E-99B63B39BA9A}" dt="2022-11-30T10:04:48.123" v="12114" actId="20577"/>
        <pc:sldMkLst>
          <pc:docMk/>
          <pc:sldMk cId="294796903" sldId="1146"/>
        </pc:sldMkLst>
        <pc:spChg chg="mod">
          <ac:chgData name="Stina Ru" userId="a298bcda0a73aae4" providerId="LiveId" clId="{47D97379-590A-4825-927E-99B63B39BA9A}" dt="2022-11-30T10:04:48.123" v="12114" actId="20577"/>
          <ac:spMkLst>
            <pc:docMk/>
            <pc:sldMk cId="294796903" sldId="1146"/>
            <ac:spMk id="9" creationId="{28CD78BF-FD21-4273-AC08-8CC747F9071D}"/>
          </ac:spMkLst>
        </pc:spChg>
      </pc:sldChg>
      <pc:sldChg chg="del">
        <pc:chgData name="Stina Ru" userId="a298bcda0a73aae4" providerId="LiveId" clId="{47D97379-590A-4825-927E-99B63B39BA9A}" dt="2022-11-28T18:08:16.589" v="11" actId="47"/>
        <pc:sldMkLst>
          <pc:docMk/>
          <pc:sldMk cId="3348382561" sldId="1183"/>
        </pc:sldMkLst>
      </pc:sldChg>
      <pc:sldChg chg="del">
        <pc:chgData name="Stina Ru" userId="a298bcda0a73aae4" providerId="LiveId" clId="{47D97379-590A-4825-927E-99B63B39BA9A}" dt="2022-11-28T18:08:18.849" v="12" actId="47"/>
        <pc:sldMkLst>
          <pc:docMk/>
          <pc:sldMk cId="2445152104" sldId="1184"/>
        </pc:sldMkLst>
      </pc:sldChg>
      <pc:sldChg chg="del">
        <pc:chgData name="Stina Ru" userId="a298bcda0a73aae4" providerId="LiveId" clId="{47D97379-590A-4825-927E-99B63B39BA9A}" dt="2022-11-28T18:08:09.638" v="5" actId="47"/>
        <pc:sldMkLst>
          <pc:docMk/>
          <pc:sldMk cId="253087202" sldId="1188"/>
        </pc:sldMkLst>
      </pc:sldChg>
      <pc:sldChg chg="del">
        <pc:chgData name="Stina Ru" userId="a298bcda0a73aae4" providerId="LiveId" clId="{47D97379-590A-4825-927E-99B63B39BA9A}" dt="2022-11-28T18:08:14.330" v="10" actId="47"/>
        <pc:sldMkLst>
          <pc:docMk/>
          <pc:sldMk cId="2699578356" sldId="1189"/>
        </pc:sldMkLst>
      </pc:sldChg>
      <pc:sldChg chg="del">
        <pc:chgData name="Stina Ru" userId="a298bcda0a73aae4" providerId="LiveId" clId="{47D97379-590A-4825-927E-99B63B39BA9A}" dt="2022-11-28T18:08:19.570" v="13" actId="47"/>
        <pc:sldMkLst>
          <pc:docMk/>
          <pc:sldMk cId="3346942873" sldId="1194"/>
        </pc:sldMkLst>
      </pc:sldChg>
      <pc:sldChg chg="del">
        <pc:chgData name="Stina Ru" userId="a298bcda0a73aae4" providerId="LiveId" clId="{47D97379-590A-4825-927E-99B63B39BA9A}" dt="2022-11-28T18:08:20.234" v="14" actId="47"/>
        <pc:sldMkLst>
          <pc:docMk/>
          <pc:sldMk cId="503688294" sldId="1196"/>
        </pc:sldMkLst>
      </pc:sldChg>
      <pc:sldChg chg="modSp add del mod ord">
        <pc:chgData name="Stina Ru" userId="a298bcda0a73aae4" providerId="LiveId" clId="{47D97379-590A-4825-927E-99B63B39BA9A}" dt="2022-11-30T11:05:04.783" v="12778" actId="20577"/>
        <pc:sldMkLst>
          <pc:docMk/>
          <pc:sldMk cId="3349756669" sldId="1200"/>
        </pc:sldMkLst>
        <pc:spChg chg="mod">
          <ac:chgData name="Stina Ru" userId="a298bcda0a73aae4" providerId="LiveId" clId="{47D97379-590A-4825-927E-99B63B39BA9A}" dt="2022-11-30T11:05:04.783" v="12778" actId="20577"/>
          <ac:spMkLst>
            <pc:docMk/>
            <pc:sldMk cId="3349756669" sldId="1200"/>
            <ac:spMk id="6" creationId="{070F7C74-9112-406B-A0CC-08F6DDA1D2AF}"/>
          </ac:spMkLst>
        </pc:spChg>
        <pc:spChg chg="mod">
          <ac:chgData name="Stina Ru" userId="a298bcda0a73aae4" providerId="LiveId" clId="{47D97379-590A-4825-927E-99B63B39BA9A}" dt="2022-11-28T18:25:49.874" v="749" actId="20577"/>
          <ac:spMkLst>
            <pc:docMk/>
            <pc:sldMk cId="3349756669" sldId="1200"/>
            <ac:spMk id="12" creationId="{13B203F9-1E27-4E57-902E-B40C20ADA7DF}"/>
          </ac:spMkLst>
        </pc:spChg>
      </pc:sldChg>
      <pc:sldChg chg="modSp add del mod ord modAnim">
        <pc:chgData name="Stina Ru" userId="a298bcda0a73aae4" providerId="LiveId" clId="{47D97379-590A-4825-927E-99B63B39BA9A}" dt="2022-12-07T11:19:23.598" v="13063" actId="47"/>
        <pc:sldMkLst>
          <pc:docMk/>
          <pc:sldMk cId="1185479838" sldId="1201"/>
        </pc:sldMkLst>
        <pc:spChg chg="mod">
          <ac:chgData name="Stina Ru" userId="a298bcda0a73aae4" providerId="LiveId" clId="{47D97379-590A-4825-927E-99B63B39BA9A}" dt="2022-11-30T11:05:29.790" v="12780" actId="20577"/>
          <ac:spMkLst>
            <pc:docMk/>
            <pc:sldMk cId="1185479838" sldId="1201"/>
            <ac:spMk id="6" creationId="{070F7C74-9112-406B-A0CC-08F6DDA1D2AF}"/>
          </ac:spMkLst>
        </pc:spChg>
        <pc:spChg chg="mod">
          <ac:chgData name="Stina Ru" userId="a298bcda0a73aae4" providerId="LiveId" clId="{47D97379-590A-4825-927E-99B63B39BA9A}" dt="2022-11-28T22:51:55.946" v="1554" actId="20577"/>
          <ac:spMkLst>
            <pc:docMk/>
            <pc:sldMk cId="1185479838" sldId="1201"/>
            <ac:spMk id="12" creationId="{13B203F9-1E27-4E57-902E-B40C20ADA7DF}"/>
          </ac:spMkLst>
        </pc:spChg>
        <pc:spChg chg="mod">
          <ac:chgData name="Stina Ru" userId="a298bcda0a73aae4" providerId="LiveId" clId="{47D97379-590A-4825-927E-99B63B39BA9A}" dt="2022-11-29T12:13:43.506" v="2779" actId="20577"/>
          <ac:spMkLst>
            <pc:docMk/>
            <pc:sldMk cId="1185479838" sldId="1201"/>
            <ac:spMk id="13" creationId="{D9F45625-7754-4CE7-B147-A8EA001889A8}"/>
          </ac:spMkLst>
        </pc:spChg>
        <pc:picChg chg="mod">
          <ac:chgData name="Stina Ru" userId="a298bcda0a73aae4" providerId="LiveId" clId="{47D97379-590A-4825-927E-99B63B39BA9A}" dt="2022-11-30T10:37:31.228" v="12544" actId="1076"/>
          <ac:picMkLst>
            <pc:docMk/>
            <pc:sldMk cId="1185479838" sldId="1201"/>
            <ac:picMk id="2" creationId="{06211389-2BA5-8D4D-84D8-D2030CD0306A}"/>
          </ac:picMkLst>
        </pc:picChg>
      </pc:sldChg>
      <pc:sldChg chg="del">
        <pc:chgData name="Stina Ru" userId="a298bcda0a73aae4" providerId="LiveId" clId="{47D97379-590A-4825-927E-99B63B39BA9A}" dt="2022-11-28T18:08:11.789" v="9" actId="47"/>
        <pc:sldMkLst>
          <pc:docMk/>
          <pc:sldMk cId="3700317459" sldId="1202"/>
        </pc:sldMkLst>
      </pc:sldChg>
      <pc:sldChg chg="delSp modSp mod ord delAnim modAnim">
        <pc:chgData name="Stina Ru" userId="a298bcda0a73aae4" providerId="LiveId" clId="{47D97379-590A-4825-927E-99B63B39BA9A}" dt="2022-11-30T11:09:49.641" v="12873" actId="1076"/>
        <pc:sldMkLst>
          <pc:docMk/>
          <pc:sldMk cId="3905459325" sldId="1203"/>
        </pc:sldMkLst>
        <pc:spChg chg="mod">
          <ac:chgData name="Stina Ru" userId="a298bcda0a73aae4" providerId="LiveId" clId="{47D97379-590A-4825-927E-99B63B39BA9A}" dt="2022-11-30T08:43:45.399" v="8142" actId="20577"/>
          <ac:spMkLst>
            <pc:docMk/>
            <pc:sldMk cId="3905459325" sldId="1203"/>
            <ac:spMk id="6" creationId="{070F7C74-9112-406B-A0CC-08F6DDA1D2AF}"/>
          </ac:spMkLst>
        </pc:spChg>
        <pc:spChg chg="mod">
          <ac:chgData name="Stina Ru" userId="a298bcda0a73aae4" providerId="LiveId" clId="{47D97379-590A-4825-927E-99B63B39BA9A}" dt="2022-11-30T08:40:38.134" v="7996" actId="20577"/>
          <ac:spMkLst>
            <pc:docMk/>
            <pc:sldMk cId="3905459325" sldId="1203"/>
            <ac:spMk id="12" creationId="{13B203F9-1E27-4E57-902E-B40C20ADA7DF}"/>
          </ac:spMkLst>
        </pc:spChg>
        <pc:spChg chg="mod">
          <ac:chgData name="Stina Ru" userId="a298bcda0a73aae4" providerId="LiveId" clId="{47D97379-590A-4825-927E-99B63B39BA9A}" dt="2022-11-30T08:43:35.953" v="8138" actId="1076"/>
          <ac:spMkLst>
            <pc:docMk/>
            <pc:sldMk cId="3905459325" sldId="1203"/>
            <ac:spMk id="15" creationId="{BC5BE611-7CAE-FFE8-2B6C-A5B7AC5ED894}"/>
          </ac:spMkLst>
        </pc:spChg>
        <pc:spChg chg="del mod">
          <ac:chgData name="Stina Ru" userId="a298bcda0a73aae4" providerId="LiveId" clId="{47D97379-590A-4825-927E-99B63B39BA9A}" dt="2022-11-30T09:01:47.571" v="8599"/>
          <ac:spMkLst>
            <pc:docMk/>
            <pc:sldMk cId="3905459325" sldId="1203"/>
            <ac:spMk id="16" creationId="{ED76BF35-C1EB-6039-BD4F-BE3D2D0B538F}"/>
          </ac:spMkLst>
        </pc:spChg>
        <pc:spChg chg="mod">
          <ac:chgData name="Stina Ru" userId="a298bcda0a73aae4" providerId="LiveId" clId="{47D97379-590A-4825-927E-99B63B39BA9A}" dt="2022-11-30T08:57:43.634" v="8449" actId="6549"/>
          <ac:spMkLst>
            <pc:docMk/>
            <pc:sldMk cId="3905459325" sldId="1203"/>
            <ac:spMk id="17" creationId="{8017CCF4-F135-0EEF-DED1-575CCA1324EE}"/>
          </ac:spMkLst>
        </pc:spChg>
        <pc:spChg chg="mod">
          <ac:chgData name="Stina Ru" userId="a298bcda0a73aae4" providerId="LiveId" clId="{47D97379-590A-4825-927E-99B63B39BA9A}" dt="2022-11-30T11:09:28.722" v="12840" actId="20577"/>
          <ac:spMkLst>
            <pc:docMk/>
            <pc:sldMk cId="3905459325" sldId="1203"/>
            <ac:spMk id="18" creationId="{87333857-E04C-BEF6-6CA0-FA265C834A32}"/>
          </ac:spMkLst>
        </pc:spChg>
        <pc:spChg chg="mod">
          <ac:chgData name="Stina Ru" userId="a298bcda0a73aae4" providerId="LiveId" clId="{47D97379-590A-4825-927E-99B63B39BA9A}" dt="2022-11-30T08:45:58.861" v="8237" actId="20577"/>
          <ac:spMkLst>
            <pc:docMk/>
            <pc:sldMk cId="3905459325" sldId="1203"/>
            <ac:spMk id="19" creationId="{166DD873-FDB0-E26B-3FF9-70902D6F2BD5}"/>
          </ac:spMkLst>
        </pc:spChg>
        <pc:spChg chg="mod">
          <ac:chgData name="Stina Ru" userId="a298bcda0a73aae4" providerId="LiveId" clId="{47D97379-590A-4825-927E-99B63B39BA9A}" dt="2022-11-30T10:49:15.890" v="12627" actId="255"/>
          <ac:spMkLst>
            <pc:docMk/>
            <pc:sldMk cId="3905459325" sldId="1203"/>
            <ac:spMk id="20" creationId="{3AD9326C-340E-03C6-599C-AC979F85A096}"/>
          </ac:spMkLst>
        </pc:spChg>
        <pc:spChg chg="mod">
          <ac:chgData name="Stina Ru" userId="a298bcda0a73aae4" providerId="LiveId" clId="{47D97379-590A-4825-927E-99B63B39BA9A}" dt="2022-11-30T10:50:42.692" v="12646" actId="20577"/>
          <ac:spMkLst>
            <pc:docMk/>
            <pc:sldMk cId="3905459325" sldId="1203"/>
            <ac:spMk id="21" creationId="{9A72DE20-4534-C659-FD1A-FCD83C4EDEC0}"/>
          </ac:spMkLst>
        </pc:spChg>
        <pc:spChg chg="mod">
          <ac:chgData name="Stina Ru" userId="a298bcda0a73aae4" providerId="LiveId" clId="{47D97379-590A-4825-927E-99B63B39BA9A}" dt="2022-11-30T11:09:49.641" v="12873" actId="1076"/>
          <ac:spMkLst>
            <pc:docMk/>
            <pc:sldMk cId="3905459325" sldId="1203"/>
            <ac:spMk id="22" creationId="{7AA6D104-AB3C-DF20-0924-2D3C6FD35059}"/>
          </ac:spMkLst>
        </pc:spChg>
        <pc:graphicFrameChg chg="modGraphic">
          <ac:chgData name="Stina Ru" userId="a298bcda0a73aae4" providerId="LiveId" clId="{47D97379-590A-4825-927E-99B63B39BA9A}" dt="2022-11-30T10:17:18.409" v="12541" actId="14100"/>
          <ac:graphicFrameMkLst>
            <pc:docMk/>
            <pc:sldMk cId="3905459325" sldId="1203"/>
            <ac:graphicFrameMk id="9" creationId="{4A0793CC-C52F-C9C5-6502-BCD564447E43}"/>
          </ac:graphicFrameMkLst>
        </pc:graphicFrameChg>
        <pc:graphicFrameChg chg="modGraphic">
          <ac:chgData name="Stina Ru" userId="a298bcda0a73aae4" providerId="LiveId" clId="{47D97379-590A-4825-927E-99B63B39BA9A}" dt="2022-11-30T10:50:56.148" v="12656" actId="20577"/>
          <ac:graphicFrameMkLst>
            <pc:docMk/>
            <pc:sldMk cId="3905459325" sldId="1203"/>
            <ac:graphicFrameMk id="10" creationId="{330ECD52-2243-AFE9-7DF5-3EFDE4F38570}"/>
          </ac:graphicFrameMkLst>
        </pc:graphicFrameChg>
        <pc:picChg chg="mod">
          <ac:chgData name="Stina Ru" userId="a298bcda0a73aae4" providerId="LiveId" clId="{47D97379-590A-4825-927E-99B63B39BA9A}" dt="2022-11-30T08:40:31.146" v="7993" actId="1076"/>
          <ac:picMkLst>
            <pc:docMk/>
            <pc:sldMk cId="3905459325" sldId="1203"/>
            <ac:picMk id="14" creationId="{92F4C46F-BF9C-F90A-7798-A149A06C7DCA}"/>
          </ac:picMkLst>
        </pc:picChg>
      </pc:sldChg>
      <pc:sldChg chg="del">
        <pc:chgData name="Stina Ru" userId="a298bcda0a73aae4" providerId="LiveId" clId="{47D97379-590A-4825-927E-99B63B39BA9A}" dt="2022-11-28T18:08:28.454" v="17" actId="47"/>
        <pc:sldMkLst>
          <pc:docMk/>
          <pc:sldMk cId="2722139556" sldId="1204"/>
        </pc:sldMkLst>
      </pc:sldChg>
      <pc:sldChg chg="modSp mod">
        <pc:chgData name="Stina Ru" userId="a298bcda0a73aae4" providerId="LiveId" clId="{47D97379-590A-4825-927E-99B63B39BA9A}" dt="2022-11-30T11:01:41.611" v="12757" actId="20577"/>
        <pc:sldMkLst>
          <pc:docMk/>
          <pc:sldMk cId="3801932027" sldId="1206"/>
        </pc:sldMkLst>
        <pc:spChg chg="mod">
          <ac:chgData name="Stina Ru" userId="a298bcda0a73aae4" providerId="LiveId" clId="{47D97379-590A-4825-927E-99B63B39BA9A}" dt="2022-11-30T11:01:41.611" v="12757" actId="20577"/>
          <ac:spMkLst>
            <pc:docMk/>
            <pc:sldMk cId="3801932027" sldId="1206"/>
            <ac:spMk id="6" creationId="{070F7C74-9112-406B-A0CC-08F6DDA1D2AF}"/>
          </ac:spMkLst>
        </pc:spChg>
        <pc:spChg chg="mod">
          <ac:chgData name="Stina Ru" userId="a298bcda0a73aae4" providerId="LiveId" clId="{47D97379-590A-4825-927E-99B63B39BA9A}" dt="2022-11-28T18:24:36.435" v="685" actId="20577"/>
          <ac:spMkLst>
            <pc:docMk/>
            <pc:sldMk cId="3801932027" sldId="1206"/>
            <ac:spMk id="12" creationId="{13B203F9-1E27-4E57-902E-B40C20ADA7DF}"/>
          </ac:spMkLst>
        </pc:spChg>
      </pc:sldChg>
      <pc:sldChg chg="del">
        <pc:chgData name="Stina Ru" userId="a298bcda0a73aae4" providerId="LiveId" clId="{47D97379-590A-4825-927E-99B63B39BA9A}" dt="2022-11-28T18:09:05.004" v="51" actId="47"/>
        <pc:sldMkLst>
          <pc:docMk/>
          <pc:sldMk cId="3056762" sldId="1207"/>
        </pc:sldMkLst>
      </pc:sldChg>
      <pc:sldChg chg="del">
        <pc:chgData name="Stina Ru" userId="a298bcda0a73aae4" providerId="LiveId" clId="{47D97379-590A-4825-927E-99B63B39BA9A}" dt="2022-11-29T12:24:03.133" v="3262" actId="47"/>
        <pc:sldMkLst>
          <pc:docMk/>
          <pc:sldMk cId="3192737614" sldId="1208"/>
        </pc:sldMkLst>
      </pc:sldChg>
      <pc:sldChg chg="addSp delSp modSp mod modAnim">
        <pc:chgData name="Stina Ru" userId="a298bcda0a73aae4" providerId="LiveId" clId="{47D97379-590A-4825-927E-99B63B39BA9A}" dt="2022-11-30T10:56:20.708" v="12750" actId="20577"/>
        <pc:sldMkLst>
          <pc:docMk/>
          <pc:sldMk cId="1693290735" sldId="1211"/>
        </pc:sldMkLst>
        <pc:spChg chg="mod">
          <ac:chgData name="Stina Ru" userId="a298bcda0a73aae4" providerId="LiveId" clId="{47D97379-590A-4825-927E-99B63B39BA9A}" dt="2022-11-30T10:56:20.708" v="12750" actId="20577"/>
          <ac:spMkLst>
            <pc:docMk/>
            <pc:sldMk cId="1693290735" sldId="1211"/>
            <ac:spMk id="6" creationId="{070F7C74-9112-406B-A0CC-08F6DDA1D2AF}"/>
          </ac:spMkLst>
        </pc:spChg>
        <pc:spChg chg="mod">
          <ac:chgData name="Stina Ru" userId="a298bcda0a73aae4" providerId="LiveId" clId="{47D97379-590A-4825-927E-99B63B39BA9A}" dt="2022-11-29T17:32:23.474" v="7210" actId="20577"/>
          <ac:spMkLst>
            <pc:docMk/>
            <pc:sldMk cId="1693290735" sldId="1211"/>
            <ac:spMk id="12" creationId="{13B203F9-1E27-4E57-902E-B40C20ADA7DF}"/>
          </ac:spMkLst>
        </pc:spChg>
        <pc:picChg chg="add mod">
          <ac:chgData name="Stina Ru" userId="a298bcda0a73aae4" providerId="LiveId" clId="{47D97379-590A-4825-927E-99B63B39BA9A}" dt="2022-11-29T17:55:04.227" v="7794" actId="1076"/>
          <ac:picMkLst>
            <pc:docMk/>
            <pc:sldMk cId="1693290735" sldId="1211"/>
            <ac:picMk id="2" creationId="{62BC010D-5C75-4F83-BD0E-E899A6E28DB8}"/>
          </ac:picMkLst>
        </pc:picChg>
        <pc:picChg chg="del">
          <ac:chgData name="Stina Ru" userId="a298bcda0a73aae4" providerId="LiveId" clId="{47D97379-590A-4825-927E-99B63B39BA9A}" dt="2022-11-29T17:34:54.965" v="7492" actId="478"/>
          <ac:picMkLst>
            <pc:docMk/>
            <pc:sldMk cId="1693290735" sldId="1211"/>
            <ac:picMk id="3" creationId="{262C911B-4570-2234-FD44-069F0716F971}"/>
          </ac:picMkLst>
        </pc:picChg>
        <pc:picChg chg="add mod">
          <ac:chgData name="Stina Ru" userId="a298bcda0a73aae4" providerId="LiveId" clId="{47D97379-590A-4825-927E-99B63B39BA9A}" dt="2022-11-29T17:58:16.936" v="7981" actId="1076"/>
          <ac:picMkLst>
            <pc:docMk/>
            <pc:sldMk cId="1693290735" sldId="1211"/>
            <ac:picMk id="5" creationId="{AE1196FC-0E67-A960-83A9-0250821B140D}"/>
          </ac:picMkLst>
        </pc:picChg>
        <pc:picChg chg="del">
          <ac:chgData name="Stina Ru" userId="a298bcda0a73aae4" providerId="LiveId" clId="{47D97379-590A-4825-927E-99B63B39BA9A}" dt="2022-11-29T17:34:52.661" v="7491" actId="478"/>
          <ac:picMkLst>
            <pc:docMk/>
            <pc:sldMk cId="1693290735" sldId="1211"/>
            <ac:picMk id="7" creationId="{31C0E3EE-B2BC-1703-A482-5FEC88393ED9}"/>
          </ac:picMkLst>
        </pc:picChg>
      </pc:sldChg>
      <pc:sldChg chg="add del">
        <pc:chgData name="Stina Ru" userId="a298bcda0a73aae4" providerId="LiveId" clId="{47D97379-590A-4825-927E-99B63B39BA9A}" dt="2022-12-02T07:09:55.364" v="12944" actId="47"/>
        <pc:sldMkLst>
          <pc:docMk/>
          <pc:sldMk cId="3912368257" sldId="1213"/>
        </pc:sldMkLst>
      </pc:sldChg>
      <pc:sldChg chg="modSp add del modAnim">
        <pc:chgData name="Stina Ru" userId="a298bcda0a73aae4" providerId="LiveId" clId="{47D97379-590A-4825-927E-99B63B39BA9A}" dt="2022-12-02T07:09:57.121" v="12945" actId="47"/>
        <pc:sldMkLst>
          <pc:docMk/>
          <pc:sldMk cId="3272961467" sldId="1214"/>
        </pc:sldMkLst>
        <pc:spChg chg="mod">
          <ac:chgData name="Stina Ru" userId="a298bcda0a73aae4" providerId="LiveId" clId="{47D97379-590A-4825-927E-99B63B39BA9A}" dt="2022-11-30T11:12:11.498" v="12886" actId="20577"/>
          <ac:spMkLst>
            <pc:docMk/>
            <pc:sldMk cId="3272961467" sldId="1214"/>
            <ac:spMk id="6" creationId="{070F7C74-9112-406B-A0CC-08F6DDA1D2AF}"/>
          </ac:spMkLst>
        </pc:spChg>
      </pc:sldChg>
      <pc:sldChg chg="del">
        <pc:chgData name="Stina Ru" userId="a298bcda0a73aae4" providerId="LiveId" clId="{47D97379-590A-4825-927E-99B63B39BA9A}" dt="2022-11-28T23:22:14.821" v="2471" actId="47"/>
        <pc:sldMkLst>
          <pc:docMk/>
          <pc:sldMk cId="200564227" sldId="1215"/>
        </pc:sldMkLst>
      </pc:sldChg>
      <pc:sldChg chg="addSp delSp modSp add del mod addAnim delAnim">
        <pc:chgData name="Stina Ru" userId="a298bcda0a73aae4" providerId="LiveId" clId="{47D97379-590A-4825-927E-99B63B39BA9A}" dt="2022-12-02T07:09:57.827" v="12946" actId="47"/>
        <pc:sldMkLst>
          <pc:docMk/>
          <pc:sldMk cId="2611510056" sldId="1216"/>
        </pc:sldMkLst>
        <pc:spChg chg="del">
          <ac:chgData name="Stina Ru" userId="a298bcda0a73aae4" providerId="LiveId" clId="{47D97379-590A-4825-927E-99B63B39BA9A}" dt="2022-11-30T11:11:42.713" v="12878" actId="478"/>
          <ac:spMkLst>
            <pc:docMk/>
            <pc:sldMk cId="2611510056" sldId="1216"/>
            <ac:spMk id="7" creationId="{D43DD140-76A5-BE63-BBCC-E3CDC2CDD837}"/>
          </ac:spMkLst>
        </pc:spChg>
        <pc:spChg chg="del">
          <ac:chgData name="Stina Ru" userId="a298bcda0a73aae4" providerId="LiveId" clId="{47D97379-590A-4825-927E-99B63B39BA9A}" dt="2022-11-30T11:11:44.505" v="12879" actId="478"/>
          <ac:spMkLst>
            <pc:docMk/>
            <pc:sldMk cId="2611510056" sldId="1216"/>
            <ac:spMk id="8" creationId="{3049A214-EFE0-17D4-6B19-A12B8A696A34}"/>
          </ac:spMkLst>
        </pc:spChg>
        <pc:cxnChg chg="mod">
          <ac:chgData name="Stina Ru" userId="a298bcda0a73aae4" providerId="LiveId" clId="{47D97379-590A-4825-927E-99B63B39BA9A}" dt="2022-11-30T11:11:49.870" v="12882" actId="1076"/>
          <ac:cxnSpMkLst>
            <pc:docMk/>
            <pc:sldMk cId="2611510056" sldId="1216"/>
            <ac:cxnSpMk id="3" creationId="{BD4D3CBD-BFF4-88D3-C6EA-225461B99B03}"/>
          </ac:cxnSpMkLst>
        </pc:cxnChg>
        <pc:cxnChg chg="add del mod">
          <ac:chgData name="Stina Ru" userId="a298bcda0a73aae4" providerId="LiveId" clId="{47D97379-590A-4825-927E-99B63B39BA9A}" dt="2022-11-30T11:11:52.490" v="12883" actId="1076"/>
          <ac:cxnSpMkLst>
            <pc:docMk/>
            <pc:sldMk cId="2611510056" sldId="1216"/>
            <ac:cxnSpMk id="5" creationId="{57D19304-B3D2-6CE1-C2BF-DE4AEEEA56E0}"/>
          </ac:cxnSpMkLst>
        </pc:cxnChg>
      </pc:sldChg>
      <pc:sldChg chg="add del">
        <pc:chgData name="Stina Ru" userId="a298bcda0a73aae4" providerId="LiveId" clId="{47D97379-590A-4825-927E-99B63B39BA9A}" dt="2022-12-02T07:09:50.670" v="12941" actId="47"/>
        <pc:sldMkLst>
          <pc:docMk/>
          <pc:sldMk cId="1914125371" sldId="1217"/>
        </pc:sldMkLst>
      </pc:sldChg>
      <pc:sldChg chg="del">
        <pc:chgData name="Stina Ru" userId="a298bcda0a73aae4" providerId="LiveId" clId="{47D97379-590A-4825-927E-99B63B39BA9A}" dt="2022-11-28T23:22:18.780" v="2475" actId="47"/>
        <pc:sldMkLst>
          <pc:docMk/>
          <pc:sldMk cId="1550737097" sldId="1218"/>
        </pc:sldMkLst>
      </pc:sldChg>
      <pc:sldChg chg="del">
        <pc:chgData name="Stina Ru" userId="a298bcda0a73aae4" providerId="LiveId" clId="{47D97379-590A-4825-927E-99B63B39BA9A}" dt="2022-11-28T18:08:11.271" v="8" actId="47"/>
        <pc:sldMkLst>
          <pc:docMk/>
          <pc:sldMk cId="899688223" sldId="1219"/>
        </pc:sldMkLst>
      </pc:sldChg>
      <pc:sldChg chg="modSp mod">
        <pc:chgData name="Stina Ru" userId="a298bcda0a73aae4" providerId="LiveId" clId="{47D97379-590A-4825-927E-99B63B39BA9A}" dt="2022-11-28T18:08:50.174" v="21" actId="207"/>
        <pc:sldMkLst>
          <pc:docMk/>
          <pc:sldMk cId="2406902805" sldId="1220"/>
        </pc:sldMkLst>
        <pc:spChg chg="mod">
          <ac:chgData name="Stina Ru" userId="a298bcda0a73aae4" providerId="LiveId" clId="{47D97379-590A-4825-927E-99B63B39BA9A}" dt="2022-11-28T18:08:50.174" v="21" actId="207"/>
          <ac:spMkLst>
            <pc:docMk/>
            <pc:sldMk cId="2406902805" sldId="1220"/>
            <ac:spMk id="2" creationId="{2E8E55A0-73B3-4565-BA58-ACE5F64229D6}"/>
          </ac:spMkLst>
        </pc:spChg>
      </pc:sldChg>
      <pc:sldChg chg="del">
        <pc:chgData name="Stina Ru" userId="a298bcda0a73aae4" providerId="LiveId" clId="{47D97379-590A-4825-927E-99B63B39BA9A}" dt="2022-11-29T12:14:47.233" v="2793" actId="47"/>
        <pc:sldMkLst>
          <pc:docMk/>
          <pc:sldMk cId="2676749909" sldId="1221"/>
        </pc:sldMkLst>
      </pc:sldChg>
      <pc:sldChg chg="del">
        <pc:chgData name="Stina Ru" userId="a298bcda0a73aae4" providerId="LiveId" clId="{47D97379-590A-4825-927E-99B63B39BA9A}" dt="2022-11-28T18:08:09.109" v="4" actId="47"/>
        <pc:sldMkLst>
          <pc:docMk/>
          <pc:sldMk cId="361311843" sldId="1222"/>
        </pc:sldMkLst>
      </pc:sldChg>
      <pc:sldChg chg="modSp add del mod">
        <pc:chgData name="Stina Ru" userId="a298bcda0a73aae4" providerId="LiveId" clId="{47D97379-590A-4825-927E-99B63B39BA9A}" dt="2022-11-28T18:24:37.298" v="689"/>
        <pc:sldMkLst>
          <pc:docMk/>
          <pc:sldMk cId="530398968" sldId="1222"/>
        </pc:sldMkLst>
        <pc:spChg chg="mod">
          <ac:chgData name="Stina Ru" userId="a298bcda0a73aae4" providerId="LiveId" clId="{47D97379-590A-4825-927E-99B63B39BA9A}" dt="2022-11-28T18:24:37.078" v="688" actId="1076"/>
          <ac:spMkLst>
            <pc:docMk/>
            <pc:sldMk cId="530398968" sldId="1222"/>
            <ac:spMk id="12" creationId="{13B203F9-1E27-4E57-902E-B40C20ADA7DF}"/>
          </ac:spMkLst>
        </pc:spChg>
      </pc:sldChg>
      <pc:sldChg chg="modSp add mod">
        <pc:chgData name="Stina Ru" userId="a298bcda0a73aae4" providerId="LiveId" clId="{47D97379-590A-4825-927E-99B63B39BA9A}" dt="2022-11-29T12:14:25.302" v="2792" actId="207"/>
        <pc:sldMkLst>
          <pc:docMk/>
          <pc:sldMk cId="747973199" sldId="1222"/>
        </pc:sldMkLst>
        <pc:spChg chg="mod">
          <ac:chgData name="Stina Ru" userId="a298bcda0a73aae4" providerId="LiveId" clId="{47D97379-590A-4825-927E-99B63B39BA9A}" dt="2022-11-29T12:14:25.302" v="2792" actId="207"/>
          <ac:spMkLst>
            <pc:docMk/>
            <pc:sldMk cId="747973199" sldId="1222"/>
            <ac:spMk id="2" creationId="{2E8E55A0-73B3-4565-BA58-ACE5F64229D6}"/>
          </ac:spMkLst>
        </pc:spChg>
      </pc:sldChg>
      <pc:sldChg chg="add del">
        <pc:chgData name="Stina Ru" userId="a298bcda0a73aae4" providerId="LiveId" clId="{47D97379-590A-4825-927E-99B63B39BA9A}" dt="2022-11-28T18:25:16.999" v="704"/>
        <pc:sldMkLst>
          <pc:docMk/>
          <pc:sldMk cId="767751572" sldId="1222"/>
        </pc:sldMkLst>
      </pc:sldChg>
      <pc:sldChg chg="addSp modSp add mod modAnim">
        <pc:chgData name="Stina Ru" userId="a298bcda0a73aae4" providerId="LiveId" clId="{47D97379-590A-4825-927E-99B63B39BA9A}" dt="2022-11-30T11:07:07.036" v="12832"/>
        <pc:sldMkLst>
          <pc:docMk/>
          <pc:sldMk cId="4258846572" sldId="1223"/>
        </pc:sldMkLst>
        <pc:spChg chg="add mod">
          <ac:chgData name="Stina Ru" userId="a298bcda0a73aae4" providerId="LiveId" clId="{47D97379-590A-4825-927E-99B63B39BA9A}" dt="2022-11-29T12:31:25.462" v="3542" actId="1076"/>
          <ac:spMkLst>
            <pc:docMk/>
            <pc:sldMk cId="4258846572" sldId="1223"/>
            <ac:spMk id="2" creationId="{BE770AF4-48CA-DCAB-F8E6-53C292B47FB3}"/>
          </ac:spMkLst>
        </pc:spChg>
        <pc:spChg chg="add mod">
          <ac:chgData name="Stina Ru" userId="a298bcda0a73aae4" providerId="LiveId" clId="{47D97379-590A-4825-927E-99B63B39BA9A}" dt="2022-11-29T12:31:29.943" v="3543" actId="1076"/>
          <ac:spMkLst>
            <pc:docMk/>
            <pc:sldMk cId="4258846572" sldId="1223"/>
            <ac:spMk id="3" creationId="{3DA5E70F-7A38-5C04-2C80-0F990E9AEB94}"/>
          </ac:spMkLst>
        </pc:spChg>
        <pc:spChg chg="mod">
          <ac:chgData name="Stina Ru" userId="a298bcda0a73aae4" providerId="LiveId" clId="{47D97379-590A-4825-927E-99B63B39BA9A}" dt="2022-11-30T11:06:21.633" v="12818" actId="20577"/>
          <ac:spMkLst>
            <pc:docMk/>
            <pc:sldMk cId="4258846572" sldId="1223"/>
            <ac:spMk id="6" creationId="{070F7C74-9112-406B-A0CC-08F6DDA1D2AF}"/>
          </ac:spMkLst>
        </pc:spChg>
        <pc:spChg chg="mod">
          <ac:chgData name="Stina Ru" userId="a298bcda0a73aae4" providerId="LiveId" clId="{47D97379-590A-4825-927E-99B63B39BA9A}" dt="2022-11-29T12:32:22.399" v="3552" actId="20577"/>
          <ac:spMkLst>
            <pc:docMk/>
            <pc:sldMk cId="4258846572" sldId="1223"/>
            <ac:spMk id="12" creationId="{13B203F9-1E27-4E57-902E-B40C20ADA7DF}"/>
          </ac:spMkLst>
        </pc:spChg>
        <pc:spChg chg="mod">
          <ac:chgData name="Stina Ru" userId="a298bcda0a73aae4" providerId="LiveId" clId="{47D97379-590A-4825-927E-99B63B39BA9A}" dt="2022-11-30T11:06:50.259" v="12828" actId="1076"/>
          <ac:spMkLst>
            <pc:docMk/>
            <pc:sldMk cId="4258846572" sldId="1223"/>
            <ac:spMk id="13" creationId="{D9F45625-7754-4CE7-B147-A8EA001889A8}"/>
          </ac:spMkLst>
        </pc:spChg>
        <pc:picChg chg="add mod">
          <ac:chgData name="Stina Ru" userId="a298bcda0a73aae4" providerId="LiveId" clId="{47D97379-590A-4825-927E-99B63B39BA9A}" dt="2022-11-29T12:30:15.535" v="3509" actId="1076"/>
          <ac:picMkLst>
            <pc:docMk/>
            <pc:sldMk cId="4258846572" sldId="1223"/>
            <ac:picMk id="7" creationId="{43F6FB4D-8BFE-DF40-6F1A-533C6E9690A8}"/>
          </ac:picMkLst>
        </pc:picChg>
      </pc:sldChg>
      <pc:sldChg chg="modSp add mod modAnim">
        <pc:chgData name="Stina Ru" userId="a298bcda0a73aae4" providerId="LiveId" clId="{47D97379-590A-4825-927E-99B63B39BA9A}" dt="2022-11-30T11:07:32.734" v="12833"/>
        <pc:sldMkLst>
          <pc:docMk/>
          <pc:sldMk cId="2799676064" sldId="1224"/>
        </pc:sldMkLst>
        <pc:spChg chg="mod">
          <ac:chgData name="Stina Ru" userId="a298bcda0a73aae4" providerId="LiveId" clId="{47D97379-590A-4825-927E-99B63B39BA9A}" dt="2022-11-30T10:38:50.173" v="12560" actId="20577"/>
          <ac:spMkLst>
            <pc:docMk/>
            <pc:sldMk cId="2799676064" sldId="1224"/>
            <ac:spMk id="6" creationId="{070F7C74-9112-406B-A0CC-08F6DDA1D2AF}"/>
          </ac:spMkLst>
        </pc:spChg>
        <pc:spChg chg="mod">
          <ac:chgData name="Stina Ru" userId="a298bcda0a73aae4" providerId="LiveId" clId="{47D97379-590A-4825-927E-99B63B39BA9A}" dt="2022-11-30T10:38:54.707" v="12564" actId="20577"/>
          <ac:spMkLst>
            <pc:docMk/>
            <pc:sldMk cId="2799676064" sldId="1224"/>
            <ac:spMk id="12" creationId="{13B203F9-1E27-4E57-902E-B40C20ADA7DF}"/>
          </ac:spMkLst>
        </pc:spChg>
      </pc:sldChg>
      <pc:sldChg chg="modSp add del mod">
        <pc:chgData name="Stina Ru" userId="a298bcda0a73aae4" providerId="LiveId" clId="{47D97379-590A-4825-927E-99B63B39BA9A}" dt="2022-11-30T10:58:09.776" v="12751" actId="47"/>
        <pc:sldMkLst>
          <pc:docMk/>
          <pc:sldMk cId="4098502264" sldId="1225"/>
        </pc:sldMkLst>
        <pc:spChg chg="mod">
          <ac:chgData name="Stina Ru" userId="a298bcda0a73aae4" providerId="LiveId" clId="{47D97379-590A-4825-927E-99B63B39BA9A}" dt="2022-11-29T12:55:01.552" v="4167" actId="20577"/>
          <ac:spMkLst>
            <pc:docMk/>
            <pc:sldMk cId="4098502264" sldId="1225"/>
            <ac:spMk id="12" creationId="{13B203F9-1E27-4E57-902E-B40C20ADA7DF}"/>
          </ac:spMkLst>
        </pc:spChg>
        <pc:picChg chg="mod">
          <ac:chgData name="Stina Ru" userId="a298bcda0a73aae4" providerId="LiveId" clId="{47D97379-590A-4825-927E-99B63B39BA9A}" dt="2022-11-29T12:55:06.409" v="4168" actId="1076"/>
          <ac:picMkLst>
            <pc:docMk/>
            <pc:sldMk cId="4098502264" sldId="1225"/>
            <ac:picMk id="5" creationId="{06E08770-493F-491A-77DC-688C93C19725}"/>
          </ac:picMkLst>
        </pc:picChg>
      </pc:sldChg>
      <pc:sldChg chg="modSp add mod">
        <pc:chgData name="Stina Ru" userId="a298bcda0a73aae4" providerId="LiveId" clId="{47D97379-590A-4825-927E-99B63B39BA9A}" dt="2022-12-02T07:15:20.266" v="12948" actId="20577"/>
        <pc:sldMkLst>
          <pc:docMk/>
          <pc:sldMk cId="294104114" sldId="1226"/>
        </pc:sldMkLst>
        <pc:spChg chg="mod">
          <ac:chgData name="Stina Ru" userId="a298bcda0a73aae4" providerId="LiveId" clId="{47D97379-590A-4825-927E-99B63B39BA9A}" dt="2022-12-02T07:15:20.266" v="12948" actId="20577"/>
          <ac:spMkLst>
            <pc:docMk/>
            <pc:sldMk cId="294104114" sldId="1226"/>
            <ac:spMk id="6" creationId="{070F7C74-9112-406B-A0CC-08F6DDA1D2AF}"/>
          </ac:spMkLst>
        </pc:spChg>
        <pc:spChg chg="mod">
          <ac:chgData name="Stina Ru" userId="a298bcda0a73aae4" providerId="LiveId" clId="{47D97379-590A-4825-927E-99B63B39BA9A}" dt="2022-11-29T13:15:05.103" v="4889" actId="1076"/>
          <ac:spMkLst>
            <pc:docMk/>
            <pc:sldMk cId="294104114" sldId="1226"/>
            <ac:spMk id="12" creationId="{13B203F9-1E27-4E57-902E-B40C20ADA7DF}"/>
          </ac:spMkLst>
        </pc:spChg>
      </pc:sldChg>
      <pc:sldChg chg="modSp add del mod ord">
        <pc:chgData name="Stina Ru" userId="a298bcda0a73aae4" providerId="LiveId" clId="{47D97379-590A-4825-927E-99B63B39BA9A}" dt="2022-12-07T11:19:22.074" v="13062" actId="47"/>
        <pc:sldMkLst>
          <pc:docMk/>
          <pc:sldMk cId="111470025" sldId="1227"/>
        </pc:sldMkLst>
        <pc:spChg chg="mod">
          <ac:chgData name="Stina Ru" userId="a298bcda0a73aae4" providerId="LiveId" clId="{47D97379-590A-4825-927E-99B63B39BA9A}" dt="2022-11-30T11:07:54.122" v="12834" actId="1076"/>
          <ac:spMkLst>
            <pc:docMk/>
            <pc:sldMk cId="111470025" sldId="1227"/>
            <ac:spMk id="6" creationId="{070F7C74-9112-406B-A0CC-08F6DDA1D2AF}"/>
          </ac:spMkLst>
        </pc:spChg>
        <pc:spChg chg="mod">
          <ac:chgData name="Stina Ru" userId="a298bcda0a73aae4" providerId="LiveId" clId="{47D97379-590A-4825-927E-99B63B39BA9A}" dt="2022-11-29T14:08:04.225" v="5791" actId="6549"/>
          <ac:spMkLst>
            <pc:docMk/>
            <pc:sldMk cId="111470025" sldId="1227"/>
            <ac:spMk id="12" creationId="{13B203F9-1E27-4E57-902E-B40C20ADA7DF}"/>
          </ac:spMkLst>
        </pc:spChg>
      </pc:sldChg>
      <pc:sldChg chg="modSp add del mod ord">
        <pc:chgData name="Stina Ru" userId="a298bcda0a73aae4" providerId="LiveId" clId="{47D97379-590A-4825-927E-99B63B39BA9A}" dt="2022-12-07T11:19:20.786" v="13061" actId="47"/>
        <pc:sldMkLst>
          <pc:docMk/>
          <pc:sldMk cId="4155245261" sldId="1228"/>
        </pc:sldMkLst>
        <pc:spChg chg="mod">
          <ac:chgData name="Stina Ru" userId="a298bcda0a73aae4" providerId="LiveId" clId="{47D97379-590A-4825-927E-99B63B39BA9A}" dt="2022-11-29T17:28:24.800" v="7173" actId="20577"/>
          <ac:spMkLst>
            <pc:docMk/>
            <pc:sldMk cId="4155245261" sldId="1228"/>
            <ac:spMk id="6" creationId="{070F7C74-9112-406B-A0CC-08F6DDA1D2AF}"/>
          </ac:spMkLst>
        </pc:spChg>
        <pc:spChg chg="mod">
          <ac:chgData name="Stina Ru" userId="a298bcda0a73aae4" providerId="LiveId" clId="{47D97379-590A-4825-927E-99B63B39BA9A}" dt="2022-11-29T17:12:07.232" v="6596" actId="20577"/>
          <ac:spMkLst>
            <pc:docMk/>
            <pc:sldMk cId="4155245261" sldId="1228"/>
            <ac:spMk id="12" creationId="{13B203F9-1E27-4E57-902E-B40C20ADA7DF}"/>
          </ac:spMkLst>
        </pc:spChg>
      </pc:sldChg>
      <pc:sldChg chg="modSp add del mod">
        <pc:chgData name="Stina Ru" userId="a298bcda0a73aae4" providerId="LiveId" clId="{47D97379-590A-4825-927E-99B63B39BA9A}" dt="2022-11-30T08:40:27.039" v="7992" actId="47"/>
        <pc:sldMkLst>
          <pc:docMk/>
          <pc:sldMk cId="1338761377" sldId="1229"/>
        </pc:sldMkLst>
        <pc:picChg chg="mod">
          <ac:chgData name="Stina Ru" userId="a298bcda0a73aae4" providerId="LiveId" clId="{47D97379-590A-4825-927E-99B63B39BA9A}" dt="2022-11-29T17:54:27.816" v="7767" actId="1076"/>
          <ac:picMkLst>
            <pc:docMk/>
            <pc:sldMk cId="1338761377" sldId="1229"/>
            <ac:picMk id="3" creationId="{262C911B-4570-2234-FD44-069F0716F971}"/>
          </ac:picMkLst>
        </pc:picChg>
      </pc:sldChg>
      <pc:sldChg chg="delSp modSp new mod">
        <pc:chgData name="Stina Ru" userId="a298bcda0a73aae4" providerId="LiveId" clId="{47D97379-590A-4825-927E-99B63B39BA9A}" dt="2022-11-30T09:03:05.169" v="8628" actId="255"/>
        <pc:sldMkLst>
          <pc:docMk/>
          <pc:sldMk cId="1375948684" sldId="1229"/>
        </pc:sldMkLst>
        <pc:spChg chg="del">
          <ac:chgData name="Stina Ru" userId="a298bcda0a73aae4" providerId="LiveId" clId="{47D97379-590A-4825-927E-99B63B39BA9A}" dt="2022-11-30T09:02:49.424" v="8625" actId="478"/>
          <ac:spMkLst>
            <pc:docMk/>
            <pc:sldMk cId="1375948684" sldId="1229"/>
            <ac:spMk id="2" creationId="{51C71F9D-DF55-6E39-1408-3695F23C71F1}"/>
          </ac:spMkLst>
        </pc:spChg>
        <pc:spChg chg="mod">
          <ac:chgData name="Stina Ru" userId="a298bcda0a73aae4" providerId="LiveId" clId="{47D97379-590A-4825-927E-99B63B39BA9A}" dt="2022-11-30T09:03:05.169" v="8628" actId="255"/>
          <ac:spMkLst>
            <pc:docMk/>
            <pc:sldMk cId="1375948684" sldId="1229"/>
            <ac:spMk id="3" creationId="{E67D0377-537F-617A-CA15-8B405D74749C}"/>
          </ac:spMkLst>
        </pc:spChg>
      </pc:sldChg>
      <pc:sldChg chg="addSp delSp modSp add mod">
        <pc:chgData name="Stina Ru" userId="a298bcda0a73aae4" providerId="LiveId" clId="{47D97379-590A-4825-927E-99B63B39BA9A}" dt="2022-12-02T07:19:17.544" v="12977" actId="20577"/>
        <pc:sldMkLst>
          <pc:docMk/>
          <pc:sldMk cId="2282203113" sldId="1230"/>
        </pc:sldMkLst>
        <pc:spChg chg="add del mod">
          <ac:chgData name="Stina Ru" userId="a298bcda0a73aae4" providerId="LiveId" clId="{47D97379-590A-4825-927E-99B63B39BA9A}" dt="2022-12-02T07:18:50.976" v="12955" actId="113"/>
          <ac:spMkLst>
            <pc:docMk/>
            <pc:sldMk cId="2282203113" sldId="1230"/>
            <ac:spMk id="6" creationId="{070F7C74-9112-406B-A0CC-08F6DDA1D2AF}"/>
          </ac:spMkLst>
        </pc:spChg>
        <pc:spChg chg="add del mod">
          <ac:chgData name="Stina Ru" userId="a298bcda0a73aae4" providerId="LiveId" clId="{47D97379-590A-4825-927E-99B63B39BA9A}" dt="2022-11-30T09:07:49.167" v="9072" actId="478"/>
          <ac:spMkLst>
            <pc:docMk/>
            <pc:sldMk cId="2282203113" sldId="1230"/>
            <ac:spMk id="7" creationId="{8A2756A0-012A-E2EE-2AEE-26DF3A4CED70}"/>
          </ac:spMkLst>
        </pc:spChg>
        <pc:spChg chg="add mod">
          <ac:chgData name="Stina Ru" userId="a298bcda0a73aae4" providerId="LiveId" clId="{47D97379-590A-4825-927E-99B63B39BA9A}" dt="2022-12-02T07:19:17.544" v="12977" actId="20577"/>
          <ac:spMkLst>
            <pc:docMk/>
            <pc:sldMk cId="2282203113" sldId="1230"/>
            <ac:spMk id="8" creationId="{2C99585A-B1A0-582C-DEEA-75F5626244E4}"/>
          </ac:spMkLst>
        </pc:spChg>
        <pc:spChg chg="mod">
          <ac:chgData name="Stina Ru" userId="a298bcda0a73aae4" providerId="LiveId" clId="{47D97379-590A-4825-927E-99B63B39BA9A}" dt="2022-11-30T09:04:09.126" v="8664" actId="6549"/>
          <ac:spMkLst>
            <pc:docMk/>
            <pc:sldMk cId="2282203113" sldId="1230"/>
            <ac:spMk id="12" creationId="{13B203F9-1E27-4E57-902E-B40C20ADA7DF}"/>
          </ac:spMkLst>
        </pc:spChg>
        <pc:picChg chg="del">
          <ac:chgData name="Stina Ru" userId="a298bcda0a73aae4" providerId="LiveId" clId="{47D97379-590A-4825-927E-99B63B39BA9A}" dt="2022-11-30T09:07:50.856" v="9073" actId="478"/>
          <ac:picMkLst>
            <pc:docMk/>
            <pc:sldMk cId="2282203113" sldId="1230"/>
            <ac:picMk id="2" creationId="{62BC010D-5C75-4F83-BD0E-E899A6E28DB8}"/>
          </ac:picMkLst>
        </pc:picChg>
        <pc:picChg chg="del">
          <ac:chgData name="Stina Ru" userId="a298bcda0a73aae4" providerId="LiveId" clId="{47D97379-590A-4825-927E-99B63B39BA9A}" dt="2022-11-30T09:07:53.171" v="9074" actId="478"/>
          <ac:picMkLst>
            <pc:docMk/>
            <pc:sldMk cId="2282203113" sldId="1230"/>
            <ac:picMk id="5" creationId="{AE1196FC-0E67-A960-83A9-0250821B140D}"/>
          </ac:picMkLst>
        </pc:picChg>
      </pc:sldChg>
      <pc:sldChg chg="modSp add mod">
        <pc:chgData name="Stina Ru" userId="a298bcda0a73aae4" providerId="LiveId" clId="{47D97379-590A-4825-927E-99B63B39BA9A}" dt="2022-11-30T09:32:53.833" v="10291" actId="207"/>
        <pc:sldMkLst>
          <pc:docMk/>
          <pc:sldMk cId="1249186313" sldId="1231"/>
        </pc:sldMkLst>
        <pc:spChg chg="mod">
          <ac:chgData name="Stina Ru" userId="a298bcda0a73aae4" providerId="LiveId" clId="{47D97379-590A-4825-927E-99B63B39BA9A}" dt="2022-11-30T09:32:53.833" v="10291" actId="207"/>
          <ac:spMkLst>
            <pc:docMk/>
            <pc:sldMk cId="1249186313" sldId="1231"/>
            <ac:spMk id="6" creationId="{070F7C74-9112-406B-A0CC-08F6DDA1D2AF}"/>
          </ac:spMkLst>
        </pc:spChg>
        <pc:spChg chg="mod">
          <ac:chgData name="Stina Ru" userId="a298bcda0a73aae4" providerId="LiveId" clId="{47D97379-590A-4825-927E-99B63B39BA9A}" dt="2022-11-30T09:10:59.632" v="9189" actId="20577"/>
          <ac:spMkLst>
            <pc:docMk/>
            <pc:sldMk cId="1249186313" sldId="1231"/>
            <ac:spMk id="12" creationId="{13B203F9-1E27-4E57-902E-B40C20ADA7DF}"/>
          </ac:spMkLst>
        </pc:spChg>
      </pc:sldChg>
      <pc:sldChg chg="add del">
        <pc:chgData name="Stina Ru" userId="a298bcda0a73aae4" providerId="LiveId" clId="{47D97379-590A-4825-927E-99B63B39BA9A}" dt="2022-11-30T09:16:20.233" v="9666" actId="47"/>
        <pc:sldMkLst>
          <pc:docMk/>
          <pc:sldMk cId="920349891" sldId="1232"/>
        </pc:sldMkLst>
      </pc:sldChg>
      <pc:sldChg chg="addSp modSp add mod ord">
        <pc:chgData name="Stina Ru" userId="a298bcda0a73aae4" providerId="LiveId" clId="{47D97379-590A-4825-927E-99B63B39BA9A}" dt="2022-12-02T07:19:43.183" v="12979"/>
        <pc:sldMkLst>
          <pc:docMk/>
          <pc:sldMk cId="124511200" sldId="1233"/>
        </pc:sldMkLst>
        <pc:spChg chg="add mod">
          <ac:chgData name="Stina Ru" userId="a298bcda0a73aae4" providerId="LiveId" clId="{47D97379-590A-4825-927E-99B63B39BA9A}" dt="2022-11-30T09:29:09.112" v="10164" actId="14100"/>
          <ac:spMkLst>
            <pc:docMk/>
            <pc:sldMk cId="124511200" sldId="1233"/>
            <ac:spMk id="2" creationId="{BCBE900C-C844-EAC9-AE4D-5DB90CC6ABFF}"/>
          </ac:spMkLst>
        </pc:spChg>
        <pc:spChg chg="mod">
          <ac:chgData name="Stina Ru" userId="a298bcda0a73aae4" providerId="LiveId" clId="{47D97379-590A-4825-927E-99B63B39BA9A}" dt="2022-12-02T07:16:01.623" v="12954" actId="20577"/>
          <ac:spMkLst>
            <pc:docMk/>
            <pc:sldMk cId="124511200" sldId="1233"/>
            <ac:spMk id="6" creationId="{070F7C74-9112-406B-A0CC-08F6DDA1D2AF}"/>
          </ac:spMkLst>
        </pc:spChg>
        <pc:spChg chg="mod">
          <ac:chgData name="Stina Ru" userId="a298bcda0a73aae4" providerId="LiveId" clId="{47D97379-590A-4825-927E-99B63B39BA9A}" dt="2022-11-30T09:16:24.303" v="9667" actId="6549"/>
          <ac:spMkLst>
            <pc:docMk/>
            <pc:sldMk cId="124511200" sldId="1233"/>
            <ac:spMk id="12" creationId="{13B203F9-1E27-4E57-902E-B40C20ADA7DF}"/>
          </ac:spMkLst>
        </pc:spChg>
      </pc:sldChg>
      <pc:sldChg chg="modSp add mod ord">
        <pc:chgData name="Stina Ru" userId="a298bcda0a73aae4" providerId="LiveId" clId="{47D97379-590A-4825-927E-99B63B39BA9A}" dt="2022-12-02T07:15:54.606" v="12952" actId="20577"/>
        <pc:sldMkLst>
          <pc:docMk/>
          <pc:sldMk cId="1484731653" sldId="1234"/>
        </pc:sldMkLst>
        <pc:spChg chg="mod">
          <ac:chgData name="Stina Ru" userId="a298bcda0a73aae4" providerId="LiveId" clId="{47D97379-590A-4825-927E-99B63B39BA9A}" dt="2022-12-02T07:15:54.606" v="12952" actId="20577"/>
          <ac:spMkLst>
            <pc:docMk/>
            <pc:sldMk cId="1484731653" sldId="1234"/>
            <ac:spMk id="6" creationId="{070F7C74-9112-406B-A0CC-08F6DDA1D2AF}"/>
          </ac:spMkLst>
        </pc:spChg>
        <pc:spChg chg="mod">
          <ac:chgData name="Stina Ru" userId="a298bcda0a73aae4" providerId="LiveId" clId="{47D97379-590A-4825-927E-99B63B39BA9A}" dt="2022-11-30T09:31:46.422" v="10223" actId="6549"/>
          <ac:spMkLst>
            <pc:docMk/>
            <pc:sldMk cId="1484731653" sldId="1234"/>
            <ac:spMk id="12" creationId="{13B203F9-1E27-4E57-902E-B40C20ADA7DF}"/>
          </ac:spMkLst>
        </pc:spChg>
      </pc:sldChg>
      <pc:sldChg chg="addSp delSp modSp add mod ord">
        <pc:chgData name="Stina Ru" userId="a298bcda0a73aae4" providerId="LiveId" clId="{47D97379-590A-4825-927E-99B63B39BA9A}" dt="2022-12-02T07:19:49.851" v="12981"/>
        <pc:sldMkLst>
          <pc:docMk/>
          <pc:sldMk cId="3033071567" sldId="1235"/>
        </pc:sldMkLst>
        <pc:spChg chg="mod">
          <ac:chgData name="Stina Ru" userId="a298bcda0a73aae4" providerId="LiveId" clId="{47D97379-590A-4825-927E-99B63B39BA9A}" dt="2022-11-30T09:48:49.614" v="11311" actId="313"/>
          <ac:spMkLst>
            <pc:docMk/>
            <pc:sldMk cId="3033071567" sldId="1235"/>
            <ac:spMk id="6" creationId="{070F7C74-9112-406B-A0CC-08F6DDA1D2AF}"/>
          </ac:spMkLst>
        </pc:spChg>
        <pc:spChg chg="mod">
          <ac:chgData name="Stina Ru" userId="a298bcda0a73aae4" providerId="LiveId" clId="{47D97379-590A-4825-927E-99B63B39BA9A}" dt="2022-11-30T10:48:51.073" v="12624" actId="20577"/>
          <ac:spMkLst>
            <pc:docMk/>
            <pc:sldMk cId="3033071567" sldId="1235"/>
            <ac:spMk id="12" creationId="{13B203F9-1E27-4E57-902E-B40C20ADA7DF}"/>
          </ac:spMkLst>
        </pc:spChg>
        <pc:picChg chg="add del mod">
          <ac:chgData name="Stina Ru" userId="a298bcda0a73aae4" providerId="LiveId" clId="{47D97379-590A-4825-927E-99B63B39BA9A}" dt="2022-11-30T10:48:54.227" v="12625" actId="1076"/>
          <ac:picMkLst>
            <pc:docMk/>
            <pc:sldMk cId="3033071567" sldId="1235"/>
            <ac:picMk id="5" creationId="{06E08770-493F-491A-77DC-688C93C19725}"/>
          </ac:picMkLst>
        </pc:picChg>
      </pc:sldChg>
      <pc:sldChg chg="delSp modSp add del mod">
        <pc:chgData name="Stina Ru" userId="a298bcda0a73aae4" providerId="LiveId" clId="{47D97379-590A-4825-927E-99B63B39BA9A}" dt="2022-11-30T10:17:51.299" v="12543" actId="47"/>
        <pc:sldMkLst>
          <pc:docMk/>
          <pc:sldMk cId="3490173656" sldId="1236"/>
        </pc:sldMkLst>
        <pc:spChg chg="mod">
          <ac:chgData name="Stina Ru" userId="a298bcda0a73aae4" providerId="LiveId" clId="{47D97379-590A-4825-927E-99B63B39BA9A}" dt="2022-11-30T10:03:15.010" v="11995" actId="20577"/>
          <ac:spMkLst>
            <pc:docMk/>
            <pc:sldMk cId="3490173656" sldId="1236"/>
            <ac:spMk id="6" creationId="{070F7C74-9112-406B-A0CC-08F6DDA1D2AF}"/>
          </ac:spMkLst>
        </pc:spChg>
        <pc:spChg chg="mod">
          <ac:chgData name="Stina Ru" userId="a298bcda0a73aae4" providerId="LiveId" clId="{47D97379-590A-4825-927E-99B63B39BA9A}" dt="2022-11-30T09:54:16.446" v="11408" actId="20577"/>
          <ac:spMkLst>
            <pc:docMk/>
            <pc:sldMk cId="3490173656" sldId="1236"/>
            <ac:spMk id="12" creationId="{13B203F9-1E27-4E57-902E-B40C20ADA7DF}"/>
          </ac:spMkLst>
        </pc:spChg>
        <pc:picChg chg="del">
          <ac:chgData name="Stina Ru" userId="a298bcda0a73aae4" providerId="LiveId" clId="{47D97379-590A-4825-927E-99B63B39BA9A}" dt="2022-11-30T09:49:44.558" v="11317" actId="478"/>
          <ac:picMkLst>
            <pc:docMk/>
            <pc:sldMk cId="3490173656" sldId="1236"/>
            <ac:picMk id="5" creationId="{06E08770-493F-491A-77DC-688C93C19725}"/>
          </ac:picMkLst>
        </pc:picChg>
      </pc:sldChg>
      <pc:sldChg chg="modSp add mod">
        <pc:chgData name="Stina Ru" userId="a298bcda0a73aae4" providerId="LiveId" clId="{47D97379-590A-4825-927E-99B63B39BA9A}" dt="2022-11-30T10:52:52.720" v="12702" actId="20577"/>
        <pc:sldMkLst>
          <pc:docMk/>
          <pc:sldMk cId="3606880792" sldId="1237"/>
        </pc:sldMkLst>
        <pc:spChg chg="mod">
          <ac:chgData name="Stina Ru" userId="a298bcda0a73aae4" providerId="LiveId" clId="{47D97379-590A-4825-927E-99B63B39BA9A}" dt="2022-11-30T10:12:29.930" v="12507" actId="20577"/>
          <ac:spMkLst>
            <pc:docMk/>
            <pc:sldMk cId="3606880792" sldId="1237"/>
            <ac:spMk id="6" creationId="{070F7C74-9112-406B-A0CC-08F6DDA1D2AF}"/>
          </ac:spMkLst>
        </pc:spChg>
        <pc:spChg chg="mod">
          <ac:chgData name="Stina Ru" userId="a298bcda0a73aae4" providerId="LiveId" clId="{47D97379-590A-4825-927E-99B63B39BA9A}" dt="2022-11-30T10:52:52.720" v="12702" actId="20577"/>
          <ac:spMkLst>
            <pc:docMk/>
            <pc:sldMk cId="3606880792" sldId="1237"/>
            <ac:spMk id="12" creationId="{13B203F9-1E27-4E57-902E-B40C20ADA7DF}"/>
          </ac:spMkLst>
        </pc:spChg>
      </pc:sldChg>
      <pc:sldChg chg="modSp add mod">
        <pc:chgData name="Stina Ru" userId="a298bcda0a73aae4" providerId="LiveId" clId="{47D97379-590A-4825-927E-99B63B39BA9A}" dt="2022-12-02T07:20:12.391" v="13060" actId="113"/>
        <pc:sldMkLst>
          <pc:docMk/>
          <pc:sldMk cId="3746545321" sldId="1238"/>
        </pc:sldMkLst>
        <pc:spChg chg="mod">
          <ac:chgData name="Stina Ru" userId="a298bcda0a73aae4" providerId="LiveId" clId="{47D97379-590A-4825-927E-99B63B39BA9A}" dt="2022-12-02T07:20:12.391" v="13060" actId="113"/>
          <ac:spMkLst>
            <pc:docMk/>
            <pc:sldMk cId="3746545321" sldId="1238"/>
            <ac:spMk id="9" creationId="{28CD78BF-FD21-4273-AC08-8CC747F9071D}"/>
          </ac:spMkLst>
        </pc:spChg>
      </pc:sldChg>
      <pc:sldMasterChg chg="addSldLayout delSldLayout">
        <pc:chgData name="Stina Ru" userId="a298bcda0a73aae4" providerId="LiveId" clId="{47D97379-590A-4825-927E-99B63B39BA9A}" dt="2022-12-02T07:09:53.432" v="12943" actId="47"/>
        <pc:sldMasterMkLst>
          <pc:docMk/>
          <pc:sldMasterMk cId="750419210" sldId="2147483648"/>
        </pc:sldMasterMkLst>
        <pc:sldLayoutChg chg="add del">
          <pc:chgData name="Stina Ru" userId="a298bcda0a73aae4" providerId="LiveId" clId="{47D97379-590A-4825-927E-99B63B39BA9A}" dt="2022-12-02T07:09:53.432" v="12943" actId="47"/>
          <pc:sldLayoutMkLst>
            <pc:docMk/>
            <pc:sldMasterMk cId="750419210" sldId="2147483648"/>
            <pc:sldLayoutMk cId="760121714" sldId="2147483670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8427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0F2728AD-B8FF-467B-AF5F-4891412E46D0}" type="datetimeFigureOut">
              <a:rPr lang="de-DE" smtClean="0"/>
              <a:t>07.1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203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66" tIns="49533" rIns="99066" bIns="4953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925408"/>
            <a:ext cx="5683250" cy="4029879"/>
          </a:xfrm>
          <a:prstGeom prst="rect">
            <a:avLst/>
          </a:prstGeom>
        </p:spPr>
        <p:txBody>
          <a:bodyPr vert="horz" lIns="99066" tIns="49533" rIns="99066" bIns="49533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721108"/>
            <a:ext cx="3078427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8"/>
            <a:ext cx="3078427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fld id="{B9A045E6-D734-4DB2-BEE5-DF972DD20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502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061988-3118-414D-A571-26E5ECCCF074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77745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4230000"/>
            <a:ext cx="7560000" cy="324000"/>
          </a:xfrm>
        </p:spPr>
        <p:txBody>
          <a:bodyPr/>
          <a:lstStyle>
            <a:lvl1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1pPr>
            <a:lvl2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2pPr>
            <a:lvl3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3pPr>
            <a:lvl4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4pPr>
            <a:lvl5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5pPr>
            <a:lvl6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6pPr>
            <a:lvl7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7pPr>
            <a:lvl8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8pPr>
            <a:lvl9pPr marL="0" indent="0" algn="l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468000" y="4680000"/>
            <a:ext cx="7560000" cy="144000"/>
          </a:xfrm>
        </p:spPr>
        <p:txBody>
          <a:bodyPr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0D81F06-1D47-4C44-8C29-89662B0E16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8000" y="3499200"/>
            <a:ext cx="2505600" cy="173898"/>
          </a:xfrm>
          <a:prstGeom prst="rect">
            <a:avLst/>
          </a:prstGeom>
        </p:spPr>
      </p:pic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84C7B36F-18FD-48F5-9A0D-FC40AEE68D0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-1"/>
            <a:ext cx="8182800" cy="3186000"/>
          </a:xfrm>
          <a:custGeom>
            <a:avLst/>
            <a:gdLst>
              <a:gd name="connsiteX0" fmla="*/ 0 w 8182800"/>
              <a:gd name="connsiteY0" fmla="*/ 0 h 3186000"/>
              <a:gd name="connsiteX1" fmla="*/ 8182800 w 8182800"/>
              <a:gd name="connsiteY1" fmla="*/ 0 h 3186000"/>
              <a:gd name="connsiteX2" fmla="*/ 8182800 w 8182800"/>
              <a:gd name="connsiteY2" fmla="*/ 1 h 3186000"/>
              <a:gd name="connsiteX3" fmla="*/ 7225201 w 8182800"/>
              <a:gd name="connsiteY3" fmla="*/ 1 h 3186000"/>
              <a:gd name="connsiteX4" fmla="*/ 7225201 w 8182800"/>
              <a:gd name="connsiteY4" fmla="*/ 1440001 h 3186000"/>
              <a:gd name="connsiteX5" fmla="*/ 8182800 w 8182800"/>
              <a:gd name="connsiteY5" fmla="*/ 1440001 h 3186000"/>
              <a:gd name="connsiteX6" fmla="*/ 8182800 w 8182800"/>
              <a:gd name="connsiteY6" fmla="*/ 3186000 h 3186000"/>
              <a:gd name="connsiteX7" fmla="*/ 0 w 8182800"/>
              <a:gd name="connsiteY7" fmla="*/ 3186000 h 31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82800" h="3186000">
                <a:moveTo>
                  <a:pt x="0" y="0"/>
                </a:moveTo>
                <a:lnTo>
                  <a:pt x="8182800" y="0"/>
                </a:lnTo>
                <a:lnTo>
                  <a:pt x="8182800" y="1"/>
                </a:lnTo>
                <a:lnTo>
                  <a:pt x="7225201" y="1"/>
                </a:lnTo>
                <a:lnTo>
                  <a:pt x="7225201" y="1440001"/>
                </a:lnTo>
                <a:lnTo>
                  <a:pt x="8182800" y="1440001"/>
                </a:lnTo>
                <a:lnTo>
                  <a:pt x="8182800" y="3186000"/>
                </a:lnTo>
                <a:lnTo>
                  <a:pt x="0" y="3186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28E9FB3-DC3C-4E55-9877-2DEEAAB329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25200" y="0"/>
            <a:ext cx="1440362" cy="1440000"/>
          </a:xfrm>
          <a:prstGeom prst="rect">
            <a:avLst/>
          </a:prstGeom>
        </p:spPr>
      </p:pic>
      <p:sp>
        <p:nvSpPr>
          <p:cNvPr id="23" name="Titel 22">
            <a:extLst>
              <a:ext uri="{FF2B5EF4-FFF2-40B4-BE49-F238E27FC236}">
                <a16:creationId xmlns:a16="http://schemas.microsoft.com/office/drawing/2014/main" id="{259FB325-4F00-4E24-9BB5-CBE59A8EE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895200"/>
            <a:ext cx="3527936" cy="324000"/>
          </a:xfrm>
        </p:spPr>
        <p:txBody>
          <a:bodyPr/>
          <a:lstStyle>
            <a:lvl1pPr>
              <a:lnSpc>
                <a:spcPts val="2500"/>
              </a:lnSpc>
              <a:defRPr cap="all" baseline="0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A11C8C5-D6EB-4C5D-9539-1ADEFC0908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77199" y="3895200"/>
            <a:ext cx="2505600" cy="324000"/>
          </a:xfrm>
        </p:spPr>
        <p:txBody>
          <a:bodyPr anchor="ctr" anchorCtr="0"/>
          <a:lstStyle>
            <a:lvl1pPr algn="ctr">
              <a:defRPr sz="1050"/>
            </a:lvl1pPr>
          </a:lstStyle>
          <a:p>
            <a:r>
              <a:rPr lang="de-DE"/>
              <a:t>Logo auf Platzhalter ziehen</a:t>
            </a:r>
          </a:p>
        </p:txBody>
      </p:sp>
    </p:spTree>
    <p:extLst>
      <p:ext uri="{BB962C8B-B14F-4D97-AF65-F5344CB8AC3E}">
        <p14:creationId xmlns:p14="http://schemas.microsoft.com/office/powerpoint/2010/main" val="7225862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kl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0B3784F-BC20-4A45-986C-728B00F59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</p:spTree>
    <p:extLst>
      <p:ext uri="{BB962C8B-B14F-4D97-AF65-F5344CB8AC3E}">
        <p14:creationId xmlns:p14="http://schemas.microsoft.com/office/powerpoint/2010/main" val="4262250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  <p15:guide id="5" pos="2790">
          <p15:clr>
            <a:srgbClr val="FBAE40"/>
          </p15:clr>
        </p15:guide>
        <p15:guide id="6" pos="544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324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4000" y="954000"/>
            <a:ext cx="4536000" cy="3024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119991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83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50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 inkl. Bildunter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4104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0"/>
            <a:endParaRPr lang="de-DE"/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587194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4" userDrawn="1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orient="horz" pos="226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 inkl. Bildunterzeile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20000" y="918000"/>
            <a:ext cx="342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C92916-9C2D-4160-84A7-92C7AE8CF3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3708000"/>
            <a:ext cx="3960000" cy="576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0"/>
            <a:endParaRPr lang="de-DE"/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413746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22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80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80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56241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77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 userDrawn="1">
          <p15:clr>
            <a:srgbClr val="FBAE40"/>
          </p15:clr>
        </p15:guide>
        <p15:guide id="5" orient="horz" pos="2564" userDrawn="1">
          <p15:clr>
            <a:srgbClr val="FBAE40"/>
          </p15:clr>
        </p15:guide>
        <p15:guide id="6" orient="horz" pos="151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2 Bilder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40000" y="918000"/>
            <a:ext cx="5400000" cy="33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6DB40BEE-2C74-4B7C-AA75-FB330D4E18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000" y="954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73CCF540-0E4F-47A6-981D-1A856FBCB4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000" y="2628000"/>
            <a:ext cx="2160000" cy="144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98701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58" userDrawn="1">
          <p15:clr>
            <a:srgbClr val="FBAE40"/>
          </p15:clr>
        </p15:guide>
        <p15:guide id="2" pos="5444">
          <p15:clr>
            <a:srgbClr val="FBAE40"/>
          </p15:clr>
        </p15:guide>
        <p15:guide id="3" orient="horz" pos="596">
          <p15:clr>
            <a:srgbClr val="FBAE40"/>
          </p15:clr>
        </p15:guide>
        <p15:guide id="4" orient="horz" pos="1653">
          <p15:clr>
            <a:srgbClr val="FBAE40"/>
          </p15:clr>
        </p15:guide>
        <p15:guide id="5" orient="horz" pos="2564">
          <p15:clr>
            <a:srgbClr val="FBAE40"/>
          </p15:clr>
        </p15:guide>
        <p15:guide id="6" orient="horz" pos="151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EIN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2F6D41-300A-44A6-A773-F84C7424C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5674647-E98A-4E91-B769-603FBD38F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836340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E7FEC2D-DBFC-481D-89EF-55316F02D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BC5583F-31A1-412C-900F-41106AD78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817796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orstell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912" y="0"/>
            <a:ext cx="2830680" cy="1698408"/>
          </a:xfrm>
          <a:prstGeom prst="rect">
            <a:avLst/>
          </a:prstGeom>
        </p:spPr>
      </p:pic>
      <p:sp>
        <p:nvSpPr>
          <p:cNvPr id="8" name="Bildplatzhalter 11"/>
          <p:cNvSpPr>
            <a:spLocks noGrp="1"/>
          </p:cNvSpPr>
          <p:nvPr>
            <p:ph type="pic" sz="quarter" idx="10"/>
          </p:nvPr>
        </p:nvSpPr>
        <p:spPr>
          <a:xfrm>
            <a:off x="-4834" y="-2989"/>
            <a:ext cx="9148810" cy="5148352"/>
          </a:xfrm>
          <a:custGeom>
            <a:avLst/>
            <a:gdLst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4500 w 8064500"/>
              <a:gd name="connsiteY2" fmla="*/ 4038600 h 4038600"/>
              <a:gd name="connsiteX3" fmla="*/ 0 w 8064500"/>
              <a:gd name="connsiteY3" fmla="*/ 4038600 h 4038600"/>
              <a:gd name="connsiteX4" fmla="*/ 0 w 8064500"/>
              <a:gd name="connsiteY4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719263 h 4038600"/>
              <a:gd name="connsiteX3" fmla="*/ 8064500 w 8064500"/>
              <a:gd name="connsiteY3" fmla="*/ 4038600 h 4038600"/>
              <a:gd name="connsiteX4" fmla="*/ 0 w 8064500"/>
              <a:gd name="connsiteY4" fmla="*/ 4038600 h 4038600"/>
              <a:gd name="connsiteX5" fmla="*/ 0 w 8064500"/>
              <a:gd name="connsiteY5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8062913 w 8064500"/>
              <a:gd name="connsiteY2" fmla="*/ 1221581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669882 w 8064500"/>
              <a:gd name="connsiteY2" fmla="*/ 1909762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8064500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6256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19263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0 w 8064500"/>
              <a:gd name="connsiteY0" fmla="*/ 0 h 4038600"/>
              <a:gd name="connsiteX1" fmla="*/ 6878637 w 8064500"/>
              <a:gd name="connsiteY1" fmla="*/ 0 h 4038600"/>
              <a:gd name="connsiteX2" fmla="*/ 6881813 w 8064500"/>
              <a:gd name="connsiteY2" fmla="*/ 1724025 h 4038600"/>
              <a:gd name="connsiteX3" fmla="*/ 8062913 w 8064500"/>
              <a:gd name="connsiteY3" fmla="*/ 1724025 h 4038600"/>
              <a:gd name="connsiteX4" fmla="*/ 8064500 w 8064500"/>
              <a:gd name="connsiteY4" fmla="*/ 4038600 h 4038600"/>
              <a:gd name="connsiteX5" fmla="*/ 0 w 8064500"/>
              <a:gd name="connsiteY5" fmla="*/ 4038600 h 4038600"/>
              <a:gd name="connsiteX6" fmla="*/ 0 w 8064500"/>
              <a:gd name="connsiteY6" fmla="*/ 0 h 4038600"/>
              <a:gd name="connsiteX0" fmla="*/ 81775 w 8146275"/>
              <a:gd name="connsiteY0" fmla="*/ 0 h 4038600"/>
              <a:gd name="connsiteX1" fmla="*/ 6960412 w 8146275"/>
              <a:gd name="connsiteY1" fmla="*/ 0 h 4038600"/>
              <a:gd name="connsiteX2" fmla="*/ 6963588 w 8146275"/>
              <a:gd name="connsiteY2" fmla="*/ 1724025 h 4038600"/>
              <a:gd name="connsiteX3" fmla="*/ 8144688 w 8146275"/>
              <a:gd name="connsiteY3" fmla="*/ 1724025 h 4038600"/>
              <a:gd name="connsiteX4" fmla="*/ 8146275 w 8146275"/>
              <a:gd name="connsiteY4" fmla="*/ 4038600 h 4038600"/>
              <a:gd name="connsiteX5" fmla="*/ 0 w 8146275"/>
              <a:gd name="connsiteY5" fmla="*/ 4038600 h 4038600"/>
              <a:gd name="connsiteX6" fmla="*/ 81775 w 8146275"/>
              <a:gd name="connsiteY6" fmla="*/ 0 h 4038600"/>
              <a:gd name="connsiteX0" fmla="*/ 0 w 8146276"/>
              <a:gd name="connsiteY0" fmla="*/ 0 h 4046034"/>
              <a:gd name="connsiteX1" fmla="*/ 6960413 w 8146276"/>
              <a:gd name="connsiteY1" fmla="*/ 7434 h 4046034"/>
              <a:gd name="connsiteX2" fmla="*/ 6963589 w 8146276"/>
              <a:gd name="connsiteY2" fmla="*/ 1731459 h 4046034"/>
              <a:gd name="connsiteX3" fmla="*/ 8144689 w 8146276"/>
              <a:gd name="connsiteY3" fmla="*/ 1731459 h 4046034"/>
              <a:gd name="connsiteX4" fmla="*/ 8146276 w 8146276"/>
              <a:gd name="connsiteY4" fmla="*/ 4046034 h 4046034"/>
              <a:gd name="connsiteX5" fmla="*/ 1 w 8146276"/>
              <a:gd name="connsiteY5" fmla="*/ 4046034 h 4046034"/>
              <a:gd name="connsiteX6" fmla="*/ 0 w 8146276"/>
              <a:gd name="connsiteY6" fmla="*/ 0 h 4046034"/>
              <a:gd name="connsiteX0" fmla="*/ 9524 w 8155800"/>
              <a:gd name="connsiteY0" fmla="*/ 0 h 6093909"/>
              <a:gd name="connsiteX1" fmla="*/ 6969937 w 8155800"/>
              <a:gd name="connsiteY1" fmla="*/ 7434 h 6093909"/>
              <a:gd name="connsiteX2" fmla="*/ 6973113 w 8155800"/>
              <a:gd name="connsiteY2" fmla="*/ 1731459 h 6093909"/>
              <a:gd name="connsiteX3" fmla="*/ 8154213 w 8155800"/>
              <a:gd name="connsiteY3" fmla="*/ 1731459 h 6093909"/>
              <a:gd name="connsiteX4" fmla="*/ 8155800 w 8155800"/>
              <a:gd name="connsiteY4" fmla="*/ 4046034 h 6093909"/>
              <a:gd name="connsiteX5" fmla="*/ 0 w 8155800"/>
              <a:gd name="connsiteY5" fmla="*/ 6093909 h 6093909"/>
              <a:gd name="connsiteX6" fmla="*/ 9524 w 8155800"/>
              <a:gd name="connsiteY6" fmla="*/ 0 h 6093909"/>
              <a:gd name="connsiteX0" fmla="*/ 9524 w 8165325"/>
              <a:gd name="connsiteY0" fmla="*/ 0 h 6103434"/>
              <a:gd name="connsiteX1" fmla="*/ 6969937 w 8165325"/>
              <a:gd name="connsiteY1" fmla="*/ 7434 h 6103434"/>
              <a:gd name="connsiteX2" fmla="*/ 6973113 w 8165325"/>
              <a:gd name="connsiteY2" fmla="*/ 1731459 h 6103434"/>
              <a:gd name="connsiteX3" fmla="*/ 8154213 w 8165325"/>
              <a:gd name="connsiteY3" fmla="*/ 1731459 h 6103434"/>
              <a:gd name="connsiteX4" fmla="*/ 8165325 w 8165325"/>
              <a:gd name="connsiteY4" fmla="*/ 6103434 h 6103434"/>
              <a:gd name="connsiteX5" fmla="*/ 0 w 8165325"/>
              <a:gd name="connsiteY5" fmla="*/ 6093909 h 6103434"/>
              <a:gd name="connsiteX6" fmla="*/ 9524 w 8165325"/>
              <a:gd name="connsiteY6" fmla="*/ 0 h 6103434"/>
              <a:gd name="connsiteX0" fmla="*/ 9524 w 8694213"/>
              <a:gd name="connsiteY0" fmla="*/ 0 h 6103434"/>
              <a:gd name="connsiteX1" fmla="*/ 6969937 w 8694213"/>
              <a:gd name="connsiteY1" fmla="*/ 7434 h 6103434"/>
              <a:gd name="connsiteX2" fmla="*/ 6973113 w 8694213"/>
              <a:gd name="connsiteY2" fmla="*/ 1731459 h 6103434"/>
              <a:gd name="connsiteX3" fmla="*/ 8694213 w 8694213"/>
              <a:gd name="connsiteY3" fmla="*/ 1731459 h 6103434"/>
              <a:gd name="connsiteX4" fmla="*/ 8165325 w 8694213"/>
              <a:gd name="connsiteY4" fmla="*/ 6103434 h 6103434"/>
              <a:gd name="connsiteX5" fmla="*/ 0 w 8694213"/>
              <a:gd name="connsiteY5" fmla="*/ 6093909 h 6103434"/>
              <a:gd name="connsiteX6" fmla="*/ 9524 w 8694213"/>
              <a:gd name="connsiteY6" fmla="*/ 0 h 6103434"/>
              <a:gd name="connsiteX0" fmla="*/ 9524 w 8891427"/>
              <a:gd name="connsiteY0" fmla="*/ 0 h 6103434"/>
              <a:gd name="connsiteX1" fmla="*/ 6969937 w 8891427"/>
              <a:gd name="connsiteY1" fmla="*/ 7434 h 6103434"/>
              <a:gd name="connsiteX2" fmla="*/ 6973113 w 8891427"/>
              <a:gd name="connsiteY2" fmla="*/ 1731459 h 6103434"/>
              <a:gd name="connsiteX3" fmla="*/ 8694213 w 8891427"/>
              <a:gd name="connsiteY3" fmla="*/ 1731459 h 6103434"/>
              <a:gd name="connsiteX4" fmla="*/ 8889495 w 8891427"/>
              <a:gd name="connsiteY4" fmla="*/ 597833 h 6103434"/>
              <a:gd name="connsiteX5" fmla="*/ 8165325 w 8891427"/>
              <a:gd name="connsiteY5" fmla="*/ 6103434 h 6103434"/>
              <a:gd name="connsiteX6" fmla="*/ 0 w 8891427"/>
              <a:gd name="connsiteY6" fmla="*/ 6093909 h 6103434"/>
              <a:gd name="connsiteX7" fmla="*/ 9524 w 8891427"/>
              <a:gd name="connsiteY7" fmla="*/ 0 h 6103434"/>
              <a:gd name="connsiteX0" fmla="*/ 9524 w 8929879"/>
              <a:gd name="connsiteY0" fmla="*/ 0 h 6103434"/>
              <a:gd name="connsiteX1" fmla="*/ 6969937 w 8929879"/>
              <a:gd name="connsiteY1" fmla="*/ 7434 h 6103434"/>
              <a:gd name="connsiteX2" fmla="*/ 6973113 w 8929879"/>
              <a:gd name="connsiteY2" fmla="*/ 1731459 h 6103434"/>
              <a:gd name="connsiteX3" fmla="*/ 8694213 w 8929879"/>
              <a:gd name="connsiteY3" fmla="*/ 1731459 h 6103434"/>
              <a:gd name="connsiteX4" fmla="*/ 8889495 w 8929879"/>
              <a:gd name="connsiteY4" fmla="*/ 597833 h 6103434"/>
              <a:gd name="connsiteX5" fmla="*/ 8165325 w 8929879"/>
              <a:gd name="connsiteY5" fmla="*/ 6103434 h 6103434"/>
              <a:gd name="connsiteX6" fmla="*/ 0 w 8929879"/>
              <a:gd name="connsiteY6" fmla="*/ 6093909 h 6103434"/>
              <a:gd name="connsiteX7" fmla="*/ 9524 w 8929879"/>
              <a:gd name="connsiteY7" fmla="*/ 0 h 6103434"/>
              <a:gd name="connsiteX0" fmla="*/ 9524 w 8954130"/>
              <a:gd name="connsiteY0" fmla="*/ 0 h 6103434"/>
              <a:gd name="connsiteX1" fmla="*/ 6969937 w 8954130"/>
              <a:gd name="connsiteY1" fmla="*/ 7434 h 6103434"/>
              <a:gd name="connsiteX2" fmla="*/ 6973113 w 8954130"/>
              <a:gd name="connsiteY2" fmla="*/ 1731459 h 6103434"/>
              <a:gd name="connsiteX3" fmla="*/ 8694213 w 8954130"/>
              <a:gd name="connsiteY3" fmla="*/ 1731459 h 6103434"/>
              <a:gd name="connsiteX4" fmla="*/ 8889495 w 8954130"/>
              <a:gd name="connsiteY4" fmla="*/ 597833 h 6103434"/>
              <a:gd name="connsiteX5" fmla="*/ 8165325 w 8954130"/>
              <a:gd name="connsiteY5" fmla="*/ 6103434 h 6103434"/>
              <a:gd name="connsiteX6" fmla="*/ 0 w 8954130"/>
              <a:gd name="connsiteY6" fmla="*/ 6093909 h 6103434"/>
              <a:gd name="connsiteX7" fmla="*/ 9524 w 8954130"/>
              <a:gd name="connsiteY7" fmla="*/ 0 h 6103434"/>
              <a:gd name="connsiteX0" fmla="*/ 9524 w 8889495"/>
              <a:gd name="connsiteY0" fmla="*/ 0 h 6103434"/>
              <a:gd name="connsiteX1" fmla="*/ 6969937 w 8889495"/>
              <a:gd name="connsiteY1" fmla="*/ 7434 h 6103434"/>
              <a:gd name="connsiteX2" fmla="*/ 6973113 w 8889495"/>
              <a:gd name="connsiteY2" fmla="*/ 1731459 h 6103434"/>
              <a:gd name="connsiteX3" fmla="*/ 8694213 w 8889495"/>
              <a:gd name="connsiteY3" fmla="*/ 1731459 h 6103434"/>
              <a:gd name="connsiteX4" fmla="*/ 8889495 w 8889495"/>
              <a:gd name="connsiteY4" fmla="*/ 597833 h 6103434"/>
              <a:gd name="connsiteX5" fmla="*/ 8165325 w 8889495"/>
              <a:gd name="connsiteY5" fmla="*/ 6103434 h 6103434"/>
              <a:gd name="connsiteX6" fmla="*/ 0 w 8889495"/>
              <a:gd name="connsiteY6" fmla="*/ 6093909 h 6103434"/>
              <a:gd name="connsiteX7" fmla="*/ 9524 w 8889495"/>
              <a:gd name="connsiteY7" fmla="*/ 0 h 6103434"/>
              <a:gd name="connsiteX0" fmla="*/ 9524 w 8914544"/>
              <a:gd name="connsiteY0" fmla="*/ 0 h 6103434"/>
              <a:gd name="connsiteX1" fmla="*/ 6969937 w 8914544"/>
              <a:gd name="connsiteY1" fmla="*/ 7434 h 6103434"/>
              <a:gd name="connsiteX2" fmla="*/ 6973113 w 8914544"/>
              <a:gd name="connsiteY2" fmla="*/ 1731459 h 6103434"/>
              <a:gd name="connsiteX3" fmla="*/ 8694213 w 8914544"/>
              <a:gd name="connsiteY3" fmla="*/ 1731459 h 6103434"/>
              <a:gd name="connsiteX4" fmla="*/ 8889495 w 8914544"/>
              <a:gd name="connsiteY4" fmla="*/ 597833 h 6103434"/>
              <a:gd name="connsiteX5" fmla="*/ 8165325 w 8914544"/>
              <a:gd name="connsiteY5" fmla="*/ 6103434 h 6103434"/>
              <a:gd name="connsiteX6" fmla="*/ 0 w 8914544"/>
              <a:gd name="connsiteY6" fmla="*/ 6093909 h 6103434"/>
              <a:gd name="connsiteX7" fmla="*/ 9524 w 8914544"/>
              <a:gd name="connsiteY7" fmla="*/ 0 h 6103434"/>
              <a:gd name="connsiteX0" fmla="*/ 9524 w 8837102"/>
              <a:gd name="connsiteY0" fmla="*/ 0 h 6103434"/>
              <a:gd name="connsiteX1" fmla="*/ 6969937 w 8837102"/>
              <a:gd name="connsiteY1" fmla="*/ 7434 h 6103434"/>
              <a:gd name="connsiteX2" fmla="*/ 6973113 w 8837102"/>
              <a:gd name="connsiteY2" fmla="*/ 1731459 h 6103434"/>
              <a:gd name="connsiteX3" fmla="*/ 8694213 w 8837102"/>
              <a:gd name="connsiteY3" fmla="*/ 1731459 h 6103434"/>
              <a:gd name="connsiteX4" fmla="*/ 8695095 w 8837102"/>
              <a:gd name="connsiteY4" fmla="*/ 29033 h 6103434"/>
              <a:gd name="connsiteX5" fmla="*/ 8165325 w 8837102"/>
              <a:gd name="connsiteY5" fmla="*/ 6103434 h 6103434"/>
              <a:gd name="connsiteX6" fmla="*/ 0 w 8837102"/>
              <a:gd name="connsiteY6" fmla="*/ 6093909 h 6103434"/>
              <a:gd name="connsiteX7" fmla="*/ 9524 w 8837102"/>
              <a:gd name="connsiteY7" fmla="*/ 0 h 6103434"/>
              <a:gd name="connsiteX0" fmla="*/ 9524 w 8970194"/>
              <a:gd name="connsiteY0" fmla="*/ 107230 h 6210664"/>
              <a:gd name="connsiteX1" fmla="*/ 6969937 w 8970194"/>
              <a:gd name="connsiteY1" fmla="*/ 114664 h 6210664"/>
              <a:gd name="connsiteX2" fmla="*/ 6973113 w 8970194"/>
              <a:gd name="connsiteY2" fmla="*/ 1838689 h 6210664"/>
              <a:gd name="connsiteX3" fmla="*/ 8694213 w 8970194"/>
              <a:gd name="connsiteY3" fmla="*/ 1838689 h 6210664"/>
              <a:gd name="connsiteX4" fmla="*/ 8695095 w 8970194"/>
              <a:gd name="connsiteY4" fmla="*/ 136263 h 6210664"/>
              <a:gd name="connsiteX5" fmla="*/ 8165325 w 8970194"/>
              <a:gd name="connsiteY5" fmla="*/ 6210664 h 6210664"/>
              <a:gd name="connsiteX6" fmla="*/ 0 w 8970194"/>
              <a:gd name="connsiteY6" fmla="*/ 6201139 h 6210664"/>
              <a:gd name="connsiteX7" fmla="*/ 9524 w 8970194"/>
              <a:gd name="connsiteY7" fmla="*/ 107230 h 6210664"/>
              <a:gd name="connsiteX0" fmla="*/ 9524 w 8734141"/>
              <a:gd name="connsiteY0" fmla="*/ 157774 h 6261208"/>
              <a:gd name="connsiteX1" fmla="*/ 6969937 w 8734141"/>
              <a:gd name="connsiteY1" fmla="*/ 165208 h 6261208"/>
              <a:gd name="connsiteX2" fmla="*/ 6973113 w 8734141"/>
              <a:gd name="connsiteY2" fmla="*/ 1889233 h 6261208"/>
              <a:gd name="connsiteX3" fmla="*/ 8694213 w 8734141"/>
              <a:gd name="connsiteY3" fmla="*/ 1889233 h 6261208"/>
              <a:gd name="connsiteX4" fmla="*/ 8695095 w 8734141"/>
              <a:gd name="connsiteY4" fmla="*/ 186807 h 6261208"/>
              <a:gd name="connsiteX5" fmla="*/ 8165325 w 8734141"/>
              <a:gd name="connsiteY5" fmla="*/ 6261208 h 6261208"/>
              <a:gd name="connsiteX6" fmla="*/ 0 w 8734141"/>
              <a:gd name="connsiteY6" fmla="*/ 6251683 h 6261208"/>
              <a:gd name="connsiteX7" fmla="*/ 9524 w 8734141"/>
              <a:gd name="connsiteY7" fmla="*/ 157774 h 6261208"/>
              <a:gd name="connsiteX0" fmla="*/ 9524 w 8695095"/>
              <a:gd name="connsiteY0" fmla="*/ 0 h 6103434"/>
              <a:gd name="connsiteX1" fmla="*/ 6969937 w 8695095"/>
              <a:gd name="connsiteY1" fmla="*/ 7434 h 6103434"/>
              <a:gd name="connsiteX2" fmla="*/ 6973113 w 8695095"/>
              <a:gd name="connsiteY2" fmla="*/ 1731459 h 6103434"/>
              <a:gd name="connsiteX3" fmla="*/ 8694213 w 8695095"/>
              <a:gd name="connsiteY3" fmla="*/ 1731459 h 6103434"/>
              <a:gd name="connsiteX4" fmla="*/ 8695095 w 8695095"/>
              <a:gd name="connsiteY4" fmla="*/ 29033 h 6103434"/>
              <a:gd name="connsiteX5" fmla="*/ 8165325 w 8695095"/>
              <a:gd name="connsiteY5" fmla="*/ 6103434 h 6103434"/>
              <a:gd name="connsiteX6" fmla="*/ 0 w 8695095"/>
              <a:gd name="connsiteY6" fmla="*/ 6093909 h 6103434"/>
              <a:gd name="connsiteX7" fmla="*/ 9524 w 8695095"/>
              <a:gd name="connsiteY7" fmla="*/ 0 h 6103434"/>
              <a:gd name="connsiteX0" fmla="*/ 9524 w 8954978"/>
              <a:gd name="connsiteY0" fmla="*/ 0 h 6103434"/>
              <a:gd name="connsiteX1" fmla="*/ 6969937 w 8954978"/>
              <a:gd name="connsiteY1" fmla="*/ 7434 h 6103434"/>
              <a:gd name="connsiteX2" fmla="*/ 6973113 w 8954978"/>
              <a:gd name="connsiteY2" fmla="*/ 1731459 h 6103434"/>
              <a:gd name="connsiteX3" fmla="*/ 8694213 w 8954978"/>
              <a:gd name="connsiteY3" fmla="*/ 1731459 h 6103434"/>
              <a:gd name="connsiteX4" fmla="*/ 8695095 w 8954978"/>
              <a:gd name="connsiteY4" fmla="*/ 29033 h 6103434"/>
              <a:gd name="connsiteX5" fmla="*/ 8947095 w 8954978"/>
              <a:gd name="connsiteY5" fmla="*/ 2318633 h 6103434"/>
              <a:gd name="connsiteX6" fmla="*/ 8165325 w 8954978"/>
              <a:gd name="connsiteY6" fmla="*/ 6103434 h 6103434"/>
              <a:gd name="connsiteX7" fmla="*/ 0 w 8954978"/>
              <a:gd name="connsiteY7" fmla="*/ 6093909 h 6103434"/>
              <a:gd name="connsiteX8" fmla="*/ 9524 w 8954978"/>
              <a:gd name="connsiteY8" fmla="*/ 0 h 6103434"/>
              <a:gd name="connsiteX0" fmla="*/ 9524 w 8947095"/>
              <a:gd name="connsiteY0" fmla="*/ 0 h 6103434"/>
              <a:gd name="connsiteX1" fmla="*/ 6969937 w 8947095"/>
              <a:gd name="connsiteY1" fmla="*/ 7434 h 6103434"/>
              <a:gd name="connsiteX2" fmla="*/ 6973113 w 8947095"/>
              <a:gd name="connsiteY2" fmla="*/ 1731459 h 6103434"/>
              <a:gd name="connsiteX3" fmla="*/ 8694213 w 8947095"/>
              <a:gd name="connsiteY3" fmla="*/ 1731459 h 6103434"/>
              <a:gd name="connsiteX4" fmla="*/ 8695095 w 8947095"/>
              <a:gd name="connsiteY4" fmla="*/ 29033 h 6103434"/>
              <a:gd name="connsiteX5" fmla="*/ 8947095 w 8947095"/>
              <a:gd name="connsiteY5" fmla="*/ 2318633 h 6103434"/>
              <a:gd name="connsiteX6" fmla="*/ 8165325 w 8947095"/>
              <a:gd name="connsiteY6" fmla="*/ 6103434 h 6103434"/>
              <a:gd name="connsiteX7" fmla="*/ 0 w 8947095"/>
              <a:gd name="connsiteY7" fmla="*/ 6093909 h 6103434"/>
              <a:gd name="connsiteX8" fmla="*/ 9524 w 8947095"/>
              <a:gd name="connsiteY8" fmla="*/ 0 h 6103434"/>
              <a:gd name="connsiteX0" fmla="*/ 9524 w 9141495"/>
              <a:gd name="connsiteY0" fmla="*/ 358826 h 6462260"/>
              <a:gd name="connsiteX1" fmla="*/ 6969937 w 9141495"/>
              <a:gd name="connsiteY1" fmla="*/ 366260 h 6462260"/>
              <a:gd name="connsiteX2" fmla="*/ 6973113 w 9141495"/>
              <a:gd name="connsiteY2" fmla="*/ 2090285 h 6462260"/>
              <a:gd name="connsiteX3" fmla="*/ 8694213 w 9141495"/>
              <a:gd name="connsiteY3" fmla="*/ 2090285 h 6462260"/>
              <a:gd name="connsiteX4" fmla="*/ 8695095 w 9141495"/>
              <a:gd name="connsiteY4" fmla="*/ 387859 h 6462260"/>
              <a:gd name="connsiteX5" fmla="*/ 9141495 w 9141495"/>
              <a:gd name="connsiteY5" fmla="*/ 373459 h 6462260"/>
              <a:gd name="connsiteX6" fmla="*/ 8165325 w 9141495"/>
              <a:gd name="connsiteY6" fmla="*/ 6462260 h 6462260"/>
              <a:gd name="connsiteX7" fmla="*/ 0 w 9141495"/>
              <a:gd name="connsiteY7" fmla="*/ 6452735 h 6462260"/>
              <a:gd name="connsiteX8" fmla="*/ 9524 w 9141495"/>
              <a:gd name="connsiteY8" fmla="*/ 358826 h 6462260"/>
              <a:gd name="connsiteX0" fmla="*/ 9524 w 9141495"/>
              <a:gd name="connsiteY0" fmla="*/ 492044 h 6595478"/>
              <a:gd name="connsiteX1" fmla="*/ 6969937 w 9141495"/>
              <a:gd name="connsiteY1" fmla="*/ 499478 h 6595478"/>
              <a:gd name="connsiteX2" fmla="*/ 6973113 w 9141495"/>
              <a:gd name="connsiteY2" fmla="*/ 2223503 h 6595478"/>
              <a:gd name="connsiteX3" fmla="*/ 8694213 w 9141495"/>
              <a:gd name="connsiteY3" fmla="*/ 2223503 h 6595478"/>
              <a:gd name="connsiteX4" fmla="*/ 8695095 w 9141495"/>
              <a:gd name="connsiteY4" fmla="*/ 521077 h 6595478"/>
              <a:gd name="connsiteX5" fmla="*/ 9141495 w 9141495"/>
              <a:gd name="connsiteY5" fmla="*/ 506677 h 6595478"/>
              <a:gd name="connsiteX6" fmla="*/ 8165325 w 9141495"/>
              <a:gd name="connsiteY6" fmla="*/ 6595478 h 6595478"/>
              <a:gd name="connsiteX7" fmla="*/ 0 w 9141495"/>
              <a:gd name="connsiteY7" fmla="*/ 6585953 h 6595478"/>
              <a:gd name="connsiteX8" fmla="*/ 9524 w 9141495"/>
              <a:gd name="connsiteY8" fmla="*/ 492044 h 6595478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5095 w 9141495"/>
              <a:gd name="connsiteY4" fmla="*/ 29033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41495"/>
              <a:gd name="connsiteY0" fmla="*/ 0 h 6103434"/>
              <a:gd name="connsiteX1" fmla="*/ 6969937 w 9141495"/>
              <a:gd name="connsiteY1" fmla="*/ 7434 h 6103434"/>
              <a:gd name="connsiteX2" fmla="*/ 6973113 w 9141495"/>
              <a:gd name="connsiteY2" fmla="*/ 1731459 h 6103434"/>
              <a:gd name="connsiteX3" fmla="*/ 8694213 w 9141495"/>
              <a:gd name="connsiteY3" fmla="*/ 1731459 h 6103434"/>
              <a:gd name="connsiteX4" fmla="*/ 8692714 w 9141495"/>
              <a:gd name="connsiteY4" fmla="*/ 7602 h 6103434"/>
              <a:gd name="connsiteX5" fmla="*/ 9141495 w 9141495"/>
              <a:gd name="connsiteY5" fmla="*/ 14633 h 6103434"/>
              <a:gd name="connsiteX6" fmla="*/ 8165325 w 9141495"/>
              <a:gd name="connsiteY6" fmla="*/ 6103434 h 6103434"/>
              <a:gd name="connsiteX7" fmla="*/ 0 w 9141495"/>
              <a:gd name="connsiteY7" fmla="*/ 6093909 h 6103434"/>
              <a:gd name="connsiteX8" fmla="*/ 9524 w 914149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4213 w 9160545"/>
              <a:gd name="connsiteY3" fmla="*/ 1731459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0545"/>
              <a:gd name="connsiteY0" fmla="*/ 0 h 6103434"/>
              <a:gd name="connsiteX1" fmla="*/ 6969937 w 9160545"/>
              <a:gd name="connsiteY1" fmla="*/ 7434 h 6103434"/>
              <a:gd name="connsiteX2" fmla="*/ 6973113 w 9160545"/>
              <a:gd name="connsiteY2" fmla="*/ 1731459 h 6103434"/>
              <a:gd name="connsiteX3" fmla="*/ 8691832 w 9160545"/>
              <a:gd name="connsiteY3" fmla="*/ 1733840 h 6103434"/>
              <a:gd name="connsiteX4" fmla="*/ 8692714 w 9160545"/>
              <a:gd name="connsiteY4" fmla="*/ 7602 h 6103434"/>
              <a:gd name="connsiteX5" fmla="*/ 9160545 w 9160545"/>
              <a:gd name="connsiteY5" fmla="*/ 7489 h 6103434"/>
              <a:gd name="connsiteX6" fmla="*/ 8165325 w 9160545"/>
              <a:gd name="connsiteY6" fmla="*/ 6103434 h 6103434"/>
              <a:gd name="connsiteX7" fmla="*/ 0 w 9160545"/>
              <a:gd name="connsiteY7" fmla="*/ 6093909 h 6103434"/>
              <a:gd name="connsiteX8" fmla="*/ 9524 w 9160545"/>
              <a:gd name="connsiteY8" fmla="*/ 0 h 6103434"/>
              <a:gd name="connsiteX0" fmla="*/ 9524 w 9163069"/>
              <a:gd name="connsiteY0" fmla="*/ 0 h 6105816"/>
              <a:gd name="connsiteX1" fmla="*/ 6969937 w 9163069"/>
              <a:gd name="connsiteY1" fmla="*/ 7434 h 6105816"/>
              <a:gd name="connsiteX2" fmla="*/ 6973113 w 9163069"/>
              <a:gd name="connsiteY2" fmla="*/ 1731459 h 6105816"/>
              <a:gd name="connsiteX3" fmla="*/ 8691832 w 9163069"/>
              <a:gd name="connsiteY3" fmla="*/ 1733840 h 6105816"/>
              <a:gd name="connsiteX4" fmla="*/ 8692714 w 9163069"/>
              <a:gd name="connsiteY4" fmla="*/ 7602 h 6105816"/>
              <a:gd name="connsiteX5" fmla="*/ 9160545 w 9163069"/>
              <a:gd name="connsiteY5" fmla="*/ 7489 h 6105816"/>
              <a:gd name="connsiteX6" fmla="*/ 9163069 w 9163069"/>
              <a:gd name="connsiteY6" fmla="*/ 6105816 h 6105816"/>
              <a:gd name="connsiteX7" fmla="*/ 0 w 9163069"/>
              <a:gd name="connsiteY7" fmla="*/ 6093909 h 6105816"/>
              <a:gd name="connsiteX8" fmla="*/ 9524 w 9163069"/>
              <a:gd name="connsiteY8" fmla="*/ 0 h 6105816"/>
              <a:gd name="connsiteX0" fmla="*/ 9524 w 9163069"/>
              <a:gd name="connsiteY0" fmla="*/ 0 h 6166776"/>
              <a:gd name="connsiteX1" fmla="*/ 6969937 w 9163069"/>
              <a:gd name="connsiteY1" fmla="*/ 7434 h 6166776"/>
              <a:gd name="connsiteX2" fmla="*/ 6973113 w 9163069"/>
              <a:gd name="connsiteY2" fmla="*/ 1731459 h 6166776"/>
              <a:gd name="connsiteX3" fmla="*/ 8691832 w 9163069"/>
              <a:gd name="connsiteY3" fmla="*/ 1733840 h 6166776"/>
              <a:gd name="connsiteX4" fmla="*/ 8692714 w 9163069"/>
              <a:gd name="connsiteY4" fmla="*/ 7602 h 6166776"/>
              <a:gd name="connsiteX5" fmla="*/ 9160545 w 9163069"/>
              <a:gd name="connsiteY5" fmla="*/ 7489 h 6166776"/>
              <a:gd name="connsiteX6" fmla="*/ 9163069 w 9163069"/>
              <a:gd name="connsiteY6" fmla="*/ 6166776 h 6166776"/>
              <a:gd name="connsiteX7" fmla="*/ 0 w 9163069"/>
              <a:gd name="connsiteY7" fmla="*/ 6093909 h 6166776"/>
              <a:gd name="connsiteX8" fmla="*/ 9524 w 9163069"/>
              <a:gd name="connsiteY8" fmla="*/ 0 h 6166776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0 w 9153545"/>
              <a:gd name="connsiteY0" fmla="*/ 0 h 6170109"/>
              <a:gd name="connsiteX1" fmla="*/ 6960413 w 9153545"/>
              <a:gd name="connsiteY1" fmla="*/ 7434 h 6170109"/>
              <a:gd name="connsiteX2" fmla="*/ 6963589 w 9153545"/>
              <a:gd name="connsiteY2" fmla="*/ 1731459 h 6170109"/>
              <a:gd name="connsiteX3" fmla="*/ 8682308 w 9153545"/>
              <a:gd name="connsiteY3" fmla="*/ 1733840 h 6170109"/>
              <a:gd name="connsiteX4" fmla="*/ 8683190 w 9153545"/>
              <a:gd name="connsiteY4" fmla="*/ 7602 h 6170109"/>
              <a:gd name="connsiteX5" fmla="*/ 9151021 w 9153545"/>
              <a:gd name="connsiteY5" fmla="*/ 7489 h 6170109"/>
              <a:gd name="connsiteX6" fmla="*/ 9153545 w 9153545"/>
              <a:gd name="connsiteY6" fmla="*/ 6166776 h 6170109"/>
              <a:gd name="connsiteX7" fmla="*/ 4493896 w 9153545"/>
              <a:gd name="connsiteY7" fmla="*/ 6170109 h 6170109"/>
              <a:gd name="connsiteX8" fmla="*/ 0 w 9153545"/>
              <a:gd name="connsiteY8" fmla="*/ 0 h 6170109"/>
              <a:gd name="connsiteX0" fmla="*/ 17144 w 4659649"/>
              <a:gd name="connsiteY0" fmla="*/ 0 h 6170109"/>
              <a:gd name="connsiteX1" fmla="*/ 2466517 w 4659649"/>
              <a:gd name="connsiteY1" fmla="*/ 7434 h 6170109"/>
              <a:gd name="connsiteX2" fmla="*/ 2469693 w 4659649"/>
              <a:gd name="connsiteY2" fmla="*/ 1731459 h 6170109"/>
              <a:gd name="connsiteX3" fmla="*/ 4188412 w 4659649"/>
              <a:gd name="connsiteY3" fmla="*/ 1733840 h 6170109"/>
              <a:gd name="connsiteX4" fmla="*/ 4189294 w 4659649"/>
              <a:gd name="connsiteY4" fmla="*/ 7602 h 6170109"/>
              <a:gd name="connsiteX5" fmla="*/ 4657125 w 4659649"/>
              <a:gd name="connsiteY5" fmla="*/ 7489 h 6170109"/>
              <a:gd name="connsiteX6" fmla="*/ 4659649 w 4659649"/>
              <a:gd name="connsiteY6" fmla="*/ 6166776 h 6170109"/>
              <a:gd name="connsiteX7" fmla="*/ 0 w 4659649"/>
              <a:gd name="connsiteY7" fmla="*/ 6170109 h 6170109"/>
              <a:gd name="connsiteX8" fmla="*/ 17144 w 4659649"/>
              <a:gd name="connsiteY8" fmla="*/ 0 h 6170109"/>
              <a:gd name="connsiteX0" fmla="*/ 786764 w 5429269"/>
              <a:gd name="connsiteY0" fmla="*/ 0 h 6695889"/>
              <a:gd name="connsiteX1" fmla="*/ 3236137 w 5429269"/>
              <a:gd name="connsiteY1" fmla="*/ 7434 h 6695889"/>
              <a:gd name="connsiteX2" fmla="*/ 3239313 w 5429269"/>
              <a:gd name="connsiteY2" fmla="*/ 1731459 h 6695889"/>
              <a:gd name="connsiteX3" fmla="*/ 4958032 w 5429269"/>
              <a:gd name="connsiteY3" fmla="*/ 1733840 h 6695889"/>
              <a:gd name="connsiteX4" fmla="*/ 4958914 w 5429269"/>
              <a:gd name="connsiteY4" fmla="*/ 7602 h 6695889"/>
              <a:gd name="connsiteX5" fmla="*/ 5426745 w 5429269"/>
              <a:gd name="connsiteY5" fmla="*/ 7489 h 6695889"/>
              <a:gd name="connsiteX6" fmla="*/ 5429269 w 5429269"/>
              <a:gd name="connsiteY6" fmla="*/ 6166776 h 6695889"/>
              <a:gd name="connsiteX7" fmla="*/ 0 w 5429269"/>
              <a:gd name="connsiteY7" fmla="*/ 6695889 h 6695889"/>
              <a:gd name="connsiteX8" fmla="*/ 786764 w 5429269"/>
              <a:gd name="connsiteY8" fmla="*/ 0 h 669588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946784 w 5589289"/>
              <a:gd name="connsiteY0" fmla="*/ 0 h 6871149"/>
              <a:gd name="connsiteX1" fmla="*/ 3396157 w 5589289"/>
              <a:gd name="connsiteY1" fmla="*/ 7434 h 6871149"/>
              <a:gd name="connsiteX2" fmla="*/ 3399333 w 5589289"/>
              <a:gd name="connsiteY2" fmla="*/ 1731459 h 6871149"/>
              <a:gd name="connsiteX3" fmla="*/ 5118052 w 5589289"/>
              <a:gd name="connsiteY3" fmla="*/ 1733840 h 6871149"/>
              <a:gd name="connsiteX4" fmla="*/ 5118934 w 5589289"/>
              <a:gd name="connsiteY4" fmla="*/ 7602 h 6871149"/>
              <a:gd name="connsiteX5" fmla="*/ 5586765 w 5589289"/>
              <a:gd name="connsiteY5" fmla="*/ 7489 h 6871149"/>
              <a:gd name="connsiteX6" fmla="*/ 5589289 w 5589289"/>
              <a:gd name="connsiteY6" fmla="*/ 6166776 h 6871149"/>
              <a:gd name="connsiteX7" fmla="*/ 0 w 5589289"/>
              <a:gd name="connsiteY7" fmla="*/ 6871149 h 6871149"/>
              <a:gd name="connsiteX8" fmla="*/ 946784 w 5589289"/>
              <a:gd name="connsiteY8" fmla="*/ 0 h 6871149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15934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32384 w 5589289"/>
              <a:gd name="connsiteY0" fmla="*/ 186 h 6863715"/>
              <a:gd name="connsiteX1" fmla="*/ 3396157 w 5589289"/>
              <a:gd name="connsiteY1" fmla="*/ 0 h 6863715"/>
              <a:gd name="connsiteX2" fmla="*/ 3399333 w 5589289"/>
              <a:gd name="connsiteY2" fmla="*/ 1724025 h 6863715"/>
              <a:gd name="connsiteX3" fmla="*/ 5118052 w 5589289"/>
              <a:gd name="connsiteY3" fmla="*/ 1726406 h 6863715"/>
              <a:gd name="connsiteX4" fmla="*/ 5118934 w 5589289"/>
              <a:gd name="connsiteY4" fmla="*/ 168 h 6863715"/>
              <a:gd name="connsiteX5" fmla="*/ 5586765 w 5589289"/>
              <a:gd name="connsiteY5" fmla="*/ 55 h 6863715"/>
              <a:gd name="connsiteX6" fmla="*/ 5589289 w 5589289"/>
              <a:gd name="connsiteY6" fmla="*/ 6860382 h 6863715"/>
              <a:gd name="connsiteX7" fmla="*/ 0 w 5589289"/>
              <a:gd name="connsiteY7" fmla="*/ 6863715 h 6863715"/>
              <a:gd name="connsiteX8" fmla="*/ 32384 w 5589289"/>
              <a:gd name="connsiteY8" fmla="*/ 186 h 6863715"/>
              <a:gd name="connsiteX0" fmla="*/ 0 w 5595005"/>
              <a:gd name="connsiteY0" fmla="*/ 186 h 6863715"/>
              <a:gd name="connsiteX1" fmla="*/ 3401873 w 5595005"/>
              <a:gd name="connsiteY1" fmla="*/ 0 h 6863715"/>
              <a:gd name="connsiteX2" fmla="*/ 3405049 w 5595005"/>
              <a:gd name="connsiteY2" fmla="*/ 1724025 h 6863715"/>
              <a:gd name="connsiteX3" fmla="*/ 5123768 w 5595005"/>
              <a:gd name="connsiteY3" fmla="*/ 1726406 h 6863715"/>
              <a:gd name="connsiteX4" fmla="*/ 5124650 w 5595005"/>
              <a:gd name="connsiteY4" fmla="*/ 168 h 6863715"/>
              <a:gd name="connsiteX5" fmla="*/ 5592481 w 5595005"/>
              <a:gd name="connsiteY5" fmla="*/ 55 h 6863715"/>
              <a:gd name="connsiteX6" fmla="*/ 5595005 w 5595005"/>
              <a:gd name="connsiteY6" fmla="*/ 6860382 h 6863715"/>
              <a:gd name="connsiteX7" fmla="*/ 5716 w 5595005"/>
              <a:gd name="connsiteY7" fmla="*/ 6863715 h 6863715"/>
              <a:gd name="connsiteX8" fmla="*/ 0 w 5595005"/>
              <a:gd name="connsiteY8" fmla="*/ 186 h 6863715"/>
              <a:gd name="connsiteX0" fmla="*/ 1076327 w 5589292"/>
              <a:gd name="connsiteY0" fmla="*/ 186 h 6863715"/>
              <a:gd name="connsiteX1" fmla="*/ 3396160 w 5589292"/>
              <a:gd name="connsiteY1" fmla="*/ 0 h 6863715"/>
              <a:gd name="connsiteX2" fmla="*/ 3399336 w 5589292"/>
              <a:gd name="connsiteY2" fmla="*/ 1724025 h 6863715"/>
              <a:gd name="connsiteX3" fmla="*/ 5118055 w 5589292"/>
              <a:gd name="connsiteY3" fmla="*/ 1726406 h 6863715"/>
              <a:gd name="connsiteX4" fmla="*/ 5118937 w 5589292"/>
              <a:gd name="connsiteY4" fmla="*/ 168 h 6863715"/>
              <a:gd name="connsiteX5" fmla="*/ 5586768 w 5589292"/>
              <a:gd name="connsiteY5" fmla="*/ 55 h 6863715"/>
              <a:gd name="connsiteX6" fmla="*/ 5589292 w 5589292"/>
              <a:gd name="connsiteY6" fmla="*/ 6860382 h 6863715"/>
              <a:gd name="connsiteX7" fmla="*/ 3 w 5589292"/>
              <a:gd name="connsiteY7" fmla="*/ 6863715 h 6863715"/>
              <a:gd name="connsiteX8" fmla="*/ 1076327 w 5589292"/>
              <a:gd name="connsiteY8" fmla="*/ 186 h 6863715"/>
              <a:gd name="connsiteX0" fmla="*/ 0 w 4512965"/>
              <a:gd name="connsiteY0" fmla="*/ 186 h 6860382"/>
              <a:gd name="connsiteX1" fmla="*/ 2319833 w 4512965"/>
              <a:gd name="connsiteY1" fmla="*/ 0 h 6860382"/>
              <a:gd name="connsiteX2" fmla="*/ 2323009 w 4512965"/>
              <a:gd name="connsiteY2" fmla="*/ 1724025 h 6860382"/>
              <a:gd name="connsiteX3" fmla="*/ 4041728 w 4512965"/>
              <a:gd name="connsiteY3" fmla="*/ 1726406 h 6860382"/>
              <a:gd name="connsiteX4" fmla="*/ 4042610 w 4512965"/>
              <a:gd name="connsiteY4" fmla="*/ 168 h 6860382"/>
              <a:gd name="connsiteX5" fmla="*/ 4510441 w 4512965"/>
              <a:gd name="connsiteY5" fmla="*/ 55 h 6860382"/>
              <a:gd name="connsiteX6" fmla="*/ 4512965 w 4512965"/>
              <a:gd name="connsiteY6" fmla="*/ 6860382 h 6860382"/>
              <a:gd name="connsiteX7" fmla="*/ 5716 w 4512965"/>
              <a:gd name="connsiteY7" fmla="*/ 6856095 h 6860382"/>
              <a:gd name="connsiteX8" fmla="*/ 0 w 4512965"/>
              <a:gd name="connsiteY8" fmla="*/ 186 h 6860382"/>
              <a:gd name="connsiteX0" fmla="*/ 0 w 4512965"/>
              <a:gd name="connsiteY0" fmla="*/ 186 h 6871335"/>
              <a:gd name="connsiteX1" fmla="*/ 2319833 w 4512965"/>
              <a:gd name="connsiteY1" fmla="*/ 0 h 6871335"/>
              <a:gd name="connsiteX2" fmla="*/ 2323009 w 4512965"/>
              <a:gd name="connsiteY2" fmla="*/ 1724025 h 6871335"/>
              <a:gd name="connsiteX3" fmla="*/ 4041728 w 4512965"/>
              <a:gd name="connsiteY3" fmla="*/ 1726406 h 6871335"/>
              <a:gd name="connsiteX4" fmla="*/ 4042610 w 4512965"/>
              <a:gd name="connsiteY4" fmla="*/ 168 h 6871335"/>
              <a:gd name="connsiteX5" fmla="*/ 4510441 w 4512965"/>
              <a:gd name="connsiteY5" fmla="*/ 55 h 6871335"/>
              <a:gd name="connsiteX6" fmla="*/ 4512965 w 4512965"/>
              <a:gd name="connsiteY6" fmla="*/ 6860382 h 6871335"/>
              <a:gd name="connsiteX7" fmla="*/ 13336 w 4512965"/>
              <a:gd name="connsiteY7" fmla="*/ 6871335 h 6871335"/>
              <a:gd name="connsiteX8" fmla="*/ 0 w 4512965"/>
              <a:gd name="connsiteY8" fmla="*/ 186 h 687133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13336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3715"/>
              <a:gd name="connsiteX1" fmla="*/ 2319833 w 4512965"/>
              <a:gd name="connsiteY1" fmla="*/ 0 h 6863715"/>
              <a:gd name="connsiteX2" fmla="*/ 2323009 w 4512965"/>
              <a:gd name="connsiteY2" fmla="*/ 1724025 h 6863715"/>
              <a:gd name="connsiteX3" fmla="*/ 4041728 w 4512965"/>
              <a:gd name="connsiteY3" fmla="*/ 1726406 h 6863715"/>
              <a:gd name="connsiteX4" fmla="*/ 4042610 w 4512965"/>
              <a:gd name="connsiteY4" fmla="*/ 168 h 6863715"/>
              <a:gd name="connsiteX5" fmla="*/ 4510441 w 4512965"/>
              <a:gd name="connsiteY5" fmla="*/ 55 h 6863715"/>
              <a:gd name="connsiteX6" fmla="*/ 4512965 w 4512965"/>
              <a:gd name="connsiteY6" fmla="*/ 6860382 h 6863715"/>
              <a:gd name="connsiteX7" fmla="*/ 92711 w 4512965"/>
              <a:gd name="connsiteY7" fmla="*/ 6863715 h 6863715"/>
              <a:gd name="connsiteX8" fmla="*/ 0 w 4512965"/>
              <a:gd name="connsiteY8" fmla="*/ 186 h 6863715"/>
              <a:gd name="connsiteX0" fmla="*/ 0 w 4512965"/>
              <a:gd name="connsiteY0" fmla="*/ 186 h 6860540"/>
              <a:gd name="connsiteX1" fmla="*/ 2319833 w 4512965"/>
              <a:gd name="connsiteY1" fmla="*/ 0 h 6860540"/>
              <a:gd name="connsiteX2" fmla="*/ 2323009 w 4512965"/>
              <a:gd name="connsiteY2" fmla="*/ 1724025 h 6860540"/>
              <a:gd name="connsiteX3" fmla="*/ 4041728 w 4512965"/>
              <a:gd name="connsiteY3" fmla="*/ 1726406 h 6860540"/>
              <a:gd name="connsiteX4" fmla="*/ 4042610 w 4512965"/>
              <a:gd name="connsiteY4" fmla="*/ 168 h 6860540"/>
              <a:gd name="connsiteX5" fmla="*/ 4510441 w 4512965"/>
              <a:gd name="connsiteY5" fmla="*/ 55 h 6860540"/>
              <a:gd name="connsiteX6" fmla="*/ 4512965 w 4512965"/>
              <a:gd name="connsiteY6" fmla="*/ 6860382 h 6860540"/>
              <a:gd name="connsiteX7" fmla="*/ 10161 w 4512965"/>
              <a:gd name="connsiteY7" fmla="*/ 6860540 h 6860540"/>
              <a:gd name="connsiteX8" fmla="*/ 0 w 4512965"/>
              <a:gd name="connsiteY8" fmla="*/ 186 h 6860540"/>
              <a:gd name="connsiteX0" fmla="*/ 5714 w 4502804"/>
              <a:gd name="connsiteY0" fmla="*/ 186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5714 w 4502804"/>
              <a:gd name="connsiteY8" fmla="*/ 186 h 6860540"/>
              <a:gd name="connsiteX0" fmla="*/ 380364 w 4502804"/>
              <a:gd name="connsiteY0" fmla="*/ 238311 h 6860540"/>
              <a:gd name="connsiteX1" fmla="*/ 2309672 w 4502804"/>
              <a:gd name="connsiteY1" fmla="*/ 0 h 6860540"/>
              <a:gd name="connsiteX2" fmla="*/ 2312848 w 4502804"/>
              <a:gd name="connsiteY2" fmla="*/ 1724025 h 6860540"/>
              <a:gd name="connsiteX3" fmla="*/ 4031567 w 4502804"/>
              <a:gd name="connsiteY3" fmla="*/ 1726406 h 6860540"/>
              <a:gd name="connsiteX4" fmla="*/ 4032449 w 4502804"/>
              <a:gd name="connsiteY4" fmla="*/ 168 h 6860540"/>
              <a:gd name="connsiteX5" fmla="*/ 4500280 w 4502804"/>
              <a:gd name="connsiteY5" fmla="*/ 55 h 6860540"/>
              <a:gd name="connsiteX6" fmla="*/ 4502804 w 4502804"/>
              <a:gd name="connsiteY6" fmla="*/ 6860382 h 6860540"/>
              <a:gd name="connsiteX7" fmla="*/ 0 w 4502804"/>
              <a:gd name="connsiteY7" fmla="*/ 6860540 h 6860540"/>
              <a:gd name="connsiteX8" fmla="*/ 380364 w 4502804"/>
              <a:gd name="connsiteY8" fmla="*/ 238311 h 6860540"/>
              <a:gd name="connsiteX0" fmla="*/ 2539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2539 w 4502804"/>
              <a:gd name="connsiteY8" fmla="*/ 0 h 6863529"/>
              <a:gd name="connsiteX0" fmla="*/ 659764 w 4502804"/>
              <a:gd name="connsiteY0" fmla="*/ 0 h 6863529"/>
              <a:gd name="connsiteX1" fmla="*/ 2309672 w 4502804"/>
              <a:gd name="connsiteY1" fmla="*/ 2989 h 6863529"/>
              <a:gd name="connsiteX2" fmla="*/ 2312848 w 4502804"/>
              <a:gd name="connsiteY2" fmla="*/ 1727014 h 6863529"/>
              <a:gd name="connsiteX3" fmla="*/ 4031567 w 4502804"/>
              <a:gd name="connsiteY3" fmla="*/ 1729395 h 6863529"/>
              <a:gd name="connsiteX4" fmla="*/ 4032449 w 4502804"/>
              <a:gd name="connsiteY4" fmla="*/ 3157 h 6863529"/>
              <a:gd name="connsiteX5" fmla="*/ 4500280 w 4502804"/>
              <a:gd name="connsiteY5" fmla="*/ 3044 h 6863529"/>
              <a:gd name="connsiteX6" fmla="*/ 4502804 w 4502804"/>
              <a:gd name="connsiteY6" fmla="*/ 6863371 h 6863529"/>
              <a:gd name="connsiteX7" fmla="*/ 0 w 4502804"/>
              <a:gd name="connsiteY7" fmla="*/ 6863529 h 6863529"/>
              <a:gd name="connsiteX8" fmla="*/ 659764 w 4502804"/>
              <a:gd name="connsiteY8" fmla="*/ 0 h 6863529"/>
              <a:gd name="connsiteX0" fmla="*/ 2539 w 3845579"/>
              <a:gd name="connsiteY0" fmla="*/ 0 h 6863529"/>
              <a:gd name="connsiteX1" fmla="*/ 1652447 w 3845579"/>
              <a:gd name="connsiteY1" fmla="*/ 2989 h 6863529"/>
              <a:gd name="connsiteX2" fmla="*/ 1655623 w 3845579"/>
              <a:gd name="connsiteY2" fmla="*/ 1727014 h 6863529"/>
              <a:gd name="connsiteX3" fmla="*/ 3374342 w 3845579"/>
              <a:gd name="connsiteY3" fmla="*/ 1729395 h 6863529"/>
              <a:gd name="connsiteX4" fmla="*/ 3375224 w 3845579"/>
              <a:gd name="connsiteY4" fmla="*/ 3157 h 6863529"/>
              <a:gd name="connsiteX5" fmla="*/ 3843055 w 3845579"/>
              <a:gd name="connsiteY5" fmla="*/ 3044 h 6863529"/>
              <a:gd name="connsiteX6" fmla="*/ 3845579 w 3845579"/>
              <a:gd name="connsiteY6" fmla="*/ 6863371 h 6863529"/>
              <a:gd name="connsiteX7" fmla="*/ 0 w 3845579"/>
              <a:gd name="connsiteY7" fmla="*/ 6863529 h 6863529"/>
              <a:gd name="connsiteX8" fmla="*/ 2539 w 3845579"/>
              <a:gd name="connsiteY8" fmla="*/ 0 h 6863529"/>
              <a:gd name="connsiteX0" fmla="*/ 0 w 9148465"/>
              <a:gd name="connsiteY0" fmla="*/ 0 h 6863529"/>
              <a:gd name="connsiteX1" fmla="*/ 6955333 w 9148465"/>
              <a:gd name="connsiteY1" fmla="*/ 2989 h 6863529"/>
              <a:gd name="connsiteX2" fmla="*/ 6958509 w 9148465"/>
              <a:gd name="connsiteY2" fmla="*/ 1727014 h 6863529"/>
              <a:gd name="connsiteX3" fmla="*/ 8677228 w 9148465"/>
              <a:gd name="connsiteY3" fmla="*/ 1729395 h 6863529"/>
              <a:gd name="connsiteX4" fmla="*/ 8678110 w 9148465"/>
              <a:gd name="connsiteY4" fmla="*/ 3157 h 6863529"/>
              <a:gd name="connsiteX5" fmla="*/ 9145941 w 9148465"/>
              <a:gd name="connsiteY5" fmla="*/ 3044 h 6863529"/>
              <a:gd name="connsiteX6" fmla="*/ 9148465 w 9148465"/>
              <a:gd name="connsiteY6" fmla="*/ 6863371 h 6863529"/>
              <a:gd name="connsiteX7" fmla="*/ 5302886 w 9148465"/>
              <a:gd name="connsiteY7" fmla="*/ 6863529 h 6863529"/>
              <a:gd name="connsiteX8" fmla="*/ 0 w 9148465"/>
              <a:gd name="connsiteY8" fmla="*/ 0 h 6863529"/>
              <a:gd name="connsiteX0" fmla="*/ 2539 w 9151004"/>
              <a:gd name="connsiteY0" fmla="*/ 0 h 6863529"/>
              <a:gd name="connsiteX1" fmla="*/ 6957872 w 9151004"/>
              <a:gd name="connsiteY1" fmla="*/ 2989 h 6863529"/>
              <a:gd name="connsiteX2" fmla="*/ 6961048 w 9151004"/>
              <a:gd name="connsiteY2" fmla="*/ 1727014 h 6863529"/>
              <a:gd name="connsiteX3" fmla="*/ 8679767 w 9151004"/>
              <a:gd name="connsiteY3" fmla="*/ 1729395 h 6863529"/>
              <a:gd name="connsiteX4" fmla="*/ 8680649 w 9151004"/>
              <a:gd name="connsiteY4" fmla="*/ 3157 h 6863529"/>
              <a:gd name="connsiteX5" fmla="*/ 9148480 w 9151004"/>
              <a:gd name="connsiteY5" fmla="*/ 3044 h 6863529"/>
              <a:gd name="connsiteX6" fmla="*/ 9151004 w 9151004"/>
              <a:gd name="connsiteY6" fmla="*/ 6863371 h 6863529"/>
              <a:gd name="connsiteX7" fmla="*/ 0 w 9151004"/>
              <a:gd name="connsiteY7" fmla="*/ 6863529 h 6863529"/>
              <a:gd name="connsiteX8" fmla="*/ 2539 w 9151004"/>
              <a:gd name="connsiteY8" fmla="*/ 0 h 6863529"/>
              <a:gd name="connsiteX0" fmla="*/ 3 w 9148468"/>
              <a:gd name="connsiteY0" fmla="*/ 0 h 6863371"/>
              <a:gd name="connsiteX1" fmla="*/ 6955336 w 9148468"/>
              <a:gd name="connsiteY1" fmla="*/ 2989 h 6863371"/>
              <a:gd name="connsiteX2" fmla="*/ 6958512 w 9148468"/>
              <a:gd name="connsiteY2" fmla="*/ 1727014 h 6863371"/>
              <a:gd name="connsiteX3" fmla="*/ 8677231 w 9148468"/>
              <a:gd name="connsiteY3" fmla="*/ 1729395 h 6863371"/>
              <a:gd name="connsiteX4" fmla="*/ 8678113 w 9148468"/>
              <a:gd name="connsiteY4" fmla="*/ 3157 h 6863371"/>
              <a:gd name="connsiteX5" fmla="*/ 9145944 w 9148468"/>
              <a:gd name="connsiteY5" fmla="*/ 3044 h 6863371"/>
              <a:gd name="connsiteX6" fmla="*/ 9148468 w 9148468"/>
              <a:gd name="connsiteY6" fmla="*/ 6863371 h 6863371"/>
              <a:gd name="connsiteX7" fmla="*/ 906454 w 9148468"/>
              <a:gd name="connsiteY7" fmla="*/ 5397242 h 6863371"/>
              <a:gd name="connsiteX8" fmla="*/ 3 w 9148468"/>
              <a:gd name="connsiteY8" fmla="*/ 0 h 6863371"/>
              <a:gd name="connsiteX0" fmla="*/ 345 w 9148810"/>
              <a:gd name="connsiteY0" fmla="*/ 0 h 6863371"/>
              <a:gd name="connsiteX1" fmla="*/ 6955678 w 9148810"/>
              <a:gd name="connsiteY1" fmla="*/ 2989 h 6863371"/>
              <a:gd name="connsiteX2" fmla="*/ 6958854 w 9148810"/>
              <a:gd name="connsiteY2" fmla="*/ 1727014 h 6863371"/>
              <a:gd name="connsiteX3" fmla="*/ 8677573 w 9148810"/>
              <a:gd name="connsiteY3" fmla="*/ 1729395 h 6863371"/>
              <a:gd name="connsiteX4" fmla="*/ 8678455 w 9148810"/>
              <a:gd name="connsiteY4" fmla="*/ 3157 h 6863371"/>
              <a:gd name="connsiteX5" fmla="*/ 9146286 w 9148810"/>
              <a:gd name="connsiteY5" fmla="*/ 3044 h 6863371"/>
              <a:gd name="connsiteX6" fmla="*/ 9148810 w 9148810"/>
              <a:gd name="connsiteY6" fmla="*/ 6863371 h 6863371"/>
              <a:gd name="connsiteX7" fmla="*/ 3217 w 9148810"/>
              <a:gd name="connsiteY7" fmla="*/ 5148352 h 6863371"/>
              <a:gd name="connsiteX8" fmla="*/ 345 w 9148810"/>
              <a:gd name="connsiteY8" fmla="*/ 0 h 6863371"/>
              <a:gd name="connsiteX0" fmla="*/ 345 w 9146296"/>
              <a:gd name="connsiteY0" fmla="*/ 0 h 5359210"/>
              <a:gd name="connsiteX1" fmla="*/ 6955678 w 9146296"/>
              <a:gd name="connsiteY1" fmla="*/ 2989 h 5359210"/>
              <a:gd name="connsiteX2" fmla="*/ 6958854 w 9146296"/>
              <a:gd name="connsiteY2" fmla="*/ 1727014 h 5359210"/>
              <a:gd name="connsiteX3" fmla="*/ 8677573 w 9146296"/>
              <a:gd name="connsiteY3" fmla="*/ 1729395 h 5359210"/>
              <a:gd name="connsiteX4" fmla="*/ 8678455 w 9146296"/>
              <a:gd name="connsiteY4" fmla="*/ 3157 h 5359210"/>
              <a:gd name="connsiteX5" fmla="*/ 9146286 w 9146296"/>
              <a:gd name="connsiteY5" fmla="*/ 3044 h 5359210"/>
              <a:gd name="connsiteX6" fmla="*/ 9100114 w 9146296"/>
              <a:gd name="connsiteY6" fmla="*/ 5359210 h 5359210"/>
              <a:gd name="connsiteX7" fmla="*/ 3217 w 9146296"/>
              <a:gd name="connsiteY7" fmla="*/ 5148352 h 5359210"/>
              <a:gd name="connsiteX8" fmla="*/ 345 w 9146296"/>
              <a:gd name="connsiteY8" fmla="*/ 0 h 5359210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37373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  <a:gd name="connsiteX0" fmla="*/ 345 w 9148810"/>
              <a:gd name="connsiteY0" fmla="*/ 0 h 5148352"/>
              <a:gd name="connsiteX1" fmla="*/ 6955678 w 9148810"/>
              <a:gd name="connsiteY1" fmla="*/ 2989 h 5148352"/>
              <a:gd name="connsiteX2" fmla="*/ 6958854 w 9148810"/>
              <a:gd name="connsiteY2" fmla="*/ 1727014 h 5148352"/>
              <a:gd name="connsiteX3" fmla="*/ 8677573 w 9148810"/>
              <a:gd name="connsiteY3" fmla="*/ 1729395 h 5148352"/>
              <a:gd name="connsiteX4" fmla="*/ 8678455 w 9148810"/>
              <a:gd name="connsiteY4" fmla="*/ 3157 h 5148352"/>
              <a:gd name="connsiteX5" fmla="*/ 9146286 w 9148810"/>
              <a:gd name="connsiteY5" fmla="*/ 3044 h 5148352"/>
              <a:gd name="connsiteX6" fmla="*/ 9148810 w 9148810"/>
              <a:gd name="connsiteY6" fmla="*/ 5146898 h 5148352"/>
              <a:gd name="connsiteX7" fmla="*/ 3217 w 9148810"/>
              <a:gd name="connsiteY7" fmla="*/ 5148352 h 5148352"/>
              <a:gd name="connsiteX8" fmla="*/ 345 w 9148810"/>
              <a:gd name="connsiteY8" fmla="*/ 0 h 514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8810" h="5148352">
                <a:moveTo>
                  <a:pt x="345" y="0"/>
                </a:moveTo>
                <a:lnTo>
                  <a:pt x="6955678" y="2989"/>
                </a:lnTo>
                <a:cubicBezTo>
                  <a:pt x="6957530" y="577664"/>
                  <a:pt x="6957002" y="1152339"/>
                  <a:pt x="6958854" y="1727014"/>
                </a:cubicBezTo>
                <a:lnTo>
                  <a:pt x="8677573" y="1729395"/>
                </a:lnTo>
                <a:cubicBezTo>
                  <a:pt x="8677073" y="1154776"/>
                  <a:pt x="8678955" y="577776"/>
                  <a:pt x="8678455" y="3157"/>
                </a:cubicBezTo>
                <a:lnTo>
                  <a:pt x="9146286" y="3044"/>
                </a:lnTo>
                <a:cubicBezTo>
                  <a:pt x="9147127" y="2035820"/>
                  <a:pt x="9147548" y="1716734"/>
                  <a:pt x="9148810" y="5146898"/>
                </a:cubicBezTo>
                <a:lnTo>
                  <a:pt x="3217" y="5148352"/>
                </a:lnTo>
                <a:cubicBezTo>
                  <a:pt x="5122" y="2861567"/>
                  <a:pt x="-1560" y="2286785"/>
                  <a:pt x="345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9" name="Titel 3"/>
          <p:cNvSpPr>
            <a:spLocks noGrp="1"/>
          </p:cNvSpPr>
          <p:nvPr>
            <p:ph type="title"/>
          </p:nvPr>
        </p:nvSpPr>
        <p:spPr>
          <a:xfrm>
            <a:off x="1115616" y="1995686"/>
            <a:ext cx="5472509" cy="147732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1116013" y="3418563"/>
            <a:ext cx="5472112" cy="11525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488" y="-1587"/>
            <a:ext cx="1727200" cy="17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1217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756000"/>
            <a:ext cx="8172000" cy="720000"/>
          </a:xfrm>
        </p:spPr>
        <p:txBody>
          <a:bodyPr/>
          <a:lstStyle>
            <a:lvl1pPr>
              <a:lnSpc>
                <a:spcPts val="57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476441"/>
            <a:ext cx="8172000" cy="1439863"/>
          </a:xfrm>
        </p:spPr>
        <p:txBody>
          <a:bodyPr/>
          <a:lstStyle>
            <a:lvl1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1pPr>
            <a:lvl2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2pPr>
            <a:lvl3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3pPr>
            <a:lvl4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4pPr>
            <a:lvl5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5pPr>
            <a:lvl6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6pPr>
            <a:lvl7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7pPr>
            <a:lvl8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8pPr>
            <a:lvl9pPr>
              <a:lnSpc>
                <a:spcPts val="5700"/>
              </a:lnSpc>
              <a:defRPr sz="4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Hervorhebung</a:t>
            </a:r>
          </a:p>
        </p:txBody>
      </p:sp>
    </p:spTree>
    <p:extLst>
      <p:ext uri="{BB962C8B-B14F-4D97-AF65-F5344CB8AC3E}">
        <p14:creationId xmlns:p14="http://schemas.microsoft.com/office/powerpoint/2010/main" val="2910894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HERVORHEBUNG MIT VIEL INH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A6D120-9FDF-4BA4-88F2-0C6E4507EEA9}"/>
              </a:ext>
            </a:extLst>
          </p:cNvPr>
          <p:cNvSpPr/>
          <p:nvPr userDrawn="1"/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5F15F71-44DB-4D13-AE55-D28F1D1B73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172000" cy="540000"/>
          </a:xfrm>
        </p:spPr>
        <p:txBody>
          <a:bodyPr/>
          <a:lstStyle>
            <a:lvl1pPr>
              <a:lnSpc>
                <a:spcPts val="44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Kap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B6EDCF-E80D-4E83-A8E4-8D2B26F44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367999"/>
            <a:ext cx="8172000" cy="2916000"/>
          </a:xfrm>
        </p:spPr>
        <p:txBody>
          <a:bodyPr/>
          <a:lstStyle>
            <a:lvl1pPr>
              <a:lnSpc>
                <a:spcPts val="4400"/>
              </a:lnSpc>
              <a:spcAft>
                <a:spcPts val="0"/>
              </a:spcAft>
              <a:defRPr sz="3600" b="0">
                <a:solidFill>
                  <a:schemeClr val="bg1"/>
                </a:solidFill>
              </a:defRPr>
            </a:lvl1pPr>
            <a:lvl2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2pPr>
            <a:lvl3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3pPr>
            <a:lvl4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4pPr>
            <a:lvl5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5pPr>
            <a:lvl6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6pPr>
            <a:lvl7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7pPr>
            <a:lvl8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8pPr>
            <a:lvl9pPr>
              <a:lnSpc>
                <a:spcPts val="4400"/>
              </a:lnSpc>
              <a:defRPr sz="3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Hervorhebung</a:t>
            </a:r>
          </a:p>
          <a:p>
            <a:pPr lvl="1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7051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 defTabSz="234000">
              <a:tabLst>
                <a:tab pos="234000" algn="l"/>
              </a:tabLst>
              <a:defRPr/>
            </a:lvl2pPr>
            <a:lvl3pPr defTabSz="234000">
              <a:tabLst>
                <a:tab pos="234000" algn="l"/>
              </a:tabLst>
              <a:defRPr/>
            </a:lvl3pPr>
            <a:lvl4pPr defTabSz="234000">
              <a:tabLst>
                <a:tab pos="234000" algn="l"/>
              </a:tabLst>
              <a:defRPr/>
            </a:lvl4pPr>
            <a:lvl5pPr defTabSz="234000">
              <a:tabLst>
                <a:tab pos="234000" algn="l"/>
              </a:tabLst>
              <a:defRPr/>
            </a:lvl5pPr>
            <a:lvl6pPr marL="0" indent="0" defTabSz="234000">
              <a:buFont typeface="+mj-lt"/>
              <a:buNone/>
              <a:tabLst>
                <a:tab pos="234000" algn="l"/>
              </a:tabLst>
              <a:defRPr/>
            </a:lvl6pPr>
            <a:lvl7pPr defTabSz="234000">
              <a:tabLst>
                <a:tab pos="234000" algn="l"/>
              </a:tabLst>
              <a:defRPr/>
            </a:lvl7pPr>
            <a:lvl8pPr defTabSz="234000">
              <a:tabLst>
                <a:tab pos="234000" algn="l"/>
              </a:tabLst>
              <a:defRPr/>
            </a:lvl8pPr>
            <a:lvl9pPr defTabSz="234000">
              <a:tabLst>
                <a:tab pos="234000" algn="l"/>
              </a:tabLst>
              <a:defRPr/>
            </a:lvl9pPr>
          </a:lstStyle>
          <a:p>
            <a:pPr lvl="0"/>
            <a:r>
              <a:rPr lang="de-DE" err="1"/>
              <a:t>Subline</a:t>
            </a:r>
            <a:r>
              <a:rPr lang="de-DE"/>
              <a:t> auf erster Ebene // für weitere Eben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705867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5" name="Tabellenplatzhalter 4">
            <a:extLst>
              <a:ext uri="{FF2B5EF4-FFF2-40B4-BE49-F238E27FC236}">
                <a16:creationId xmlns:a16="http://schemas.microsoft.com/office/drawing/2014/main" id="{F5A8BB0B-4BD0-4791-8A9B-89C9D0000E3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68000" y="918000"/>
            <a:ext cx="8172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Tabelle durch Klicken auf Symbol hinzufügen</a:t>
            </a:r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541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adline //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9031" y="405427"/>
            <a:ext cx="7560000" cy="468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KAPITEL | CHART-HEADLI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261E425-9AF3-4B68-A7DE-55697E59E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8FE19E-1A66-4F06-9454-D8ECA488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grpSp>
        <p:nvGrpSpPr>
          <p:cNvPr id="6" name="Regieanweisungen">
            <a:extLst>
              <a:ext uri="{FF2B5EF4-FFF2-40B4-BE49-F238E27FC236}">
                <a16:creationId xmlns:a16="http://schemas.microsoft.com/office/drawing/2014/main" id="{20CE116F-C667-495A-B654-8B72C3A079E7}"/>
              </a:ext>
            </a:extLst>
          </p:cNvPr>
          <p:cNvGrpSpPr/>
          <p:nvPr userDrawn="1"/>
        </p:nvGrpSpPr>
        <p:grpSpPr>
          <a:xfrm>
            <a:off x="-2628800" y="-468000"/>
            <a:ext cx="14833648" cy="6083999"/>
            <a:chOff x="-2628800" y="-468000"/>
            <a:chExt cx="14833648" cy="6083999"/>
          </a:xfrm>
        </p:grpSpPr>
        <p:sp>
          <p:nvSpPr>
            <p:cNvPr id="16" name="Listenebenen">
              <a:extLst>
                <a:ext uri="{FF2B5EF4-FFF2-40B4-BE49-F238E27FC236}">
                  <a16:creationId xmlns:a16="http://schemas.microsoft.com/office/drawing/2014/main" id="{84A0104B-AA90-4DE7-ADAE-6959FBC15DB1}"/>
                </a:ext>
              </a:extLst>
            </p:cNvPr>
            <p:cNvSpPr txBox="1"/>
            <p:nvPr userDrawn="1"/>
          </p:nvSpPr>
          <p:spPr>
            <a:xfrm rot="10800000" flipH="1" flipV="1">
              <a:off x="-2628800" y="1368000"/>
              <a:ext cx="2520800" cy="1527786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ärbung einer Spalte/Zeile: </a:t>
              </a:r>
              <a:br>
                <a:rPr lang="de-DE" sz="12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: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 Entwurf / Tabellentools &gt; Schattierung &gt;</a:t>
              </a: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b="1" baseline="0">
                <a:solidFill>
                  <a:schemeClr val="tx1"/>
                </a:solidFill>
                <a:latin typeface="+mn-lt"/>
              </a:endParaRPr>
            </a:p>
            <a:p>
              <a:pPr marL="0" marR="0" lvl="0" indent="0" algn="r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Die gewünschte Farbe aus den Designfarben auswählen</a:t>
              </a:r>
            </a:p>
          </p:txBody>
        </p:sp>
        <p:sp>
          <p:nvSpPr>
            <p:cNvPr id="10" name="Zurücksetzen">
              <a:extLst>
                <a:ext uri="{FF2B5EF4-FFF2-40B4-BE49-F238E27FC236}">
                  <a16:creationId xmlns:a16="http://schemas.microsoft.com/office/drawing/2014/main" id="{431D1FFE-03BA-4520-A89B-CDD1BC7E4751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38EA8585-E11F-4D10-9DAB-78E6756B2D63}"/>
                </a:ext>
              </a:extLst>
            </p:cNvPr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öschen einer Spalte/Zeile: 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rkieren der Spalte/Zeile: Layout &gt; Löschen &gt; Spalte bzw. Zeile löschen</a:t>
              </a:r>
            </a:p>
          </p:txBody>
        </p:sp>
        <p:sp>
          <p:nvSpPr>
            <p:cNvPr id="12" name="Fußzeile">
              <a:extLst>
                <a:ext uri="{FF2B5EF4-FFF2-40B4-BE49-F238E27FC236}">
                  <a16:creationId xmlns:a16="http://schemas.microsoft.com/office/drawing/2014/main" id="{4EFB3271-7B15-42ED-A704-B39FAEDC1436}"/>
                </a:ext>
              </a:extLst>
            </p:cNvPr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6BCDAEA0-53BC-4E57-84CA-5C530F05A90E}"/>
                </a:ext>
              </a:extLst>
            </p:cNvPr>
            <p:cNvSpPr txBox="1"/>
            <p:nvPr userDrawn="1"/>
          </p:nvSpPr>
          <p:spPr>
            <a:xfrm rot="10800000" flipH="1" flipV="1">
              <a:off x="9252000" y="2283786"/>
              <a:ext cx="2952848" cy="104404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Einfügen einer Spalte/Zeile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Markieren der Spalte/Zeile neben der eine weitere eingefügt werden soll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Layout &gt; Hier die gewünschte Einfügeoption auswählen</a:t>
              </a:r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573989D-8FFD-4555-AAB7-592C2CE3AC9F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F3269418-AEC9-43D6-9A0C-41CA02546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513"/>
          <a:stretch/>
        </p:blipFill>
        <p:spPr>
          <a:xfrm>
            <a:off x="9252000" y="3327773"/>
            <a:ext cx="2067213" cy="86415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81CC49D-33BF-49DC-B533-86BE2EB412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AA78F89-2ACB-412B-A15E-E0257394F0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5238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53BA0682-B47F-4367-A3B8-D32510070C9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021886" y="1058863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8A034563-AB29-4F37-B5BB-3345653239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8534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0424F7CF-E57C-464B-8B50-5B9AC8DA959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15182" y="10603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710B0DF4-ED82-43E1-BDB1-7320C123D7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25238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B71EE452-5FE7-40D2-B9E1-D5D45EDB5AB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021886" y="28423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D276B3D8-1DDB-4E7B-9F3D-9878674761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18534" y="2827188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4" name="Bildplatzhalter 6">
            <a:extLst>
              <a:ext uri="{FF2B5EF4-FFF2-40B4-BE49-F238E27FC236}">
                <a16:creationId xmlns:a16="http://schemas.microsoft.com/office/drawing/2014/main" id="{07C48AA0-BED2-43CB-AB9B-1BA883F1149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609555" y="2825220"/>
            <a:ext cx="1655762" cy="1441450"/>
          </a:xfrm>
        </p:spPr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FDB2DC1-8B4F-4765-964F-31538821C2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451725" y="1060450"/>
            <a:ext cx="1584325" cy="32067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8131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0"/>
            <a:ext cx="9144000" cy="514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Vollbild durch klicken einfügen.</a:t>
            </a:r>
          </a:p>
        </p:txBody>
      </p:sp>
    </p:spTree>
    <p:extLst>
      <p:ext uri="{BB962C8B-B14F-4D97-AF65-F5344CB8AC3E}">
        <p14:creationId xmlns:p14="http://schemas.microsoft.com/office/powerpoint/2010/main" val="3911177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2052000" y="468000"/>
            <a:ext cx="5040000" cy="336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51999" y="3952800"/>
            <a:ext cx="5040000" cy="32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325704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92" userDrawn="1">
          <p15:clr>
            <a:srgbClr val="FBAE40"/>
          </p15:clr>
        </p15:guide>
        <p15:guide id="2" pos="4468" userDrawn="1">
          <p15:clr>
            <a:srgbClr val="FBAE40"/>
          </p15:clr>
        </p15:guide>
        <p15:guide id="3" orient="horz" pos="291" userDrawn="1">
          <p15:clr>
            <a:srgbClr val="FBAE40"/>
          </p15:clr>
        </p15:guide>
        <p15:guide id="4" orient="horz" pos="241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C3A98A1-0379-4B57-A126-017C70E19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7D7879-BA70-4DD0-99E9-74C1A1FA34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422CC4-3EFE-4A06-B194-FAB2C24ECE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3B07E-B021-4B5C-9450-33EDD58444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</a:t>
            </a:r>
            <a:r>
              <a:rPr lang="de-DE" err="1"/>
              <a:t>Bildunterzeile</a:t>
            </a:r>
            <a:r>
              <a:rPr lang="de-DE"/>
              <a:t> // für weitere Ebenen (Text) 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FABEA7C-7103-4FAC-AAB1-B8FF068486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0000" y="468000"/>
            <a:ext cx="3960000" cy="264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CA26BD8-E4CD-4A9F-ACC0-895F1FD27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0000" y="3240000"/>
            <a:ext cx="3960000" cy="1044000"/>
          </a:xfrm>
        </p:spPr>
        <p:txBody>
          <a:bodyPr/>
          <a:lstStyle>
            <a:lvl1pPr>
              <a:lnSpc>
                <a:spcPts val="1200"/>
              </a:lnSpc>
              <a:spcAft>
                <a:spcPts val="0"/>
              </a:spcAft>
              <a:defRPr sz="900"/>
            </a:lvl1pPr>
            <a:lvl2pPr>
              <a:lnSpc>
                <a:spcPts val="1200"/>
              </a:lnSpc>
              <a:spcAft>
                <a:spcPts val="0"/>
              </a:spcAft>
              <a:defRPr sz="900"/>
            </a:lvl2pPr>
            <a:lvl3pPr>
              <a:lnSpc>
                <a:spcPts val="1200"/>
              </a:lnSpc>
              <a:spcAft>
                <a:spcPts val="0"/>
              </a:spcAft>
              <a:defRPr sz="900"/>
            </a:lvl3pPr>
            <a:lvl4pPr>
              <a:lnSpc>
                <a:spcPts val="1200"/>
              </a:lnSpc>
              <a:spcAft>
                <a:spcPts val="0"/>
              </a:spcAft>
              <a:defRPr sz="900"/>
            </a:lvl4pPr>
            <a:lvl5pPr>
              <a:lnSpc>
                <a:spcPts val="1200"/>
              </a:lnSpc>
              <a:spcAft>
                <a:spcPts val="0"/>
              </a:spcAft>
              <a:defRPr sz="900"/>
            </a:lvl5pPr>
            <a:lvl6pPr>
              <a:lnSpc>
                <a:spcPts val="1200"/>
              </a:lnSpc>
              <a:spcAft>
                <a:spcPts val="0"/>
              </a:spcAft>
              <a:defRPr sz="900"/>
            </a:lvl6pPr>
            <a:lvl7pPr>
              <a:lnSpc>
                <a:spcPts val="1200"/>
              </a:lnSpc>
              <a:spcAft>
                <a:spcPts val="0"/>
              </a:spcAft>
              <a:defRPr sz="900"/>
            </a:lvl7pPr>
            <a:lvl8pPr>
              <a:lnSpc>
                <a:spcPts val="1200"/>
              </a:lnSpc>
              <a:spcAft>
                <a:spcPts val="0"/>
              </a:spcAft>
              <a:defRPr sz="900"/>
            </a:lvl8pPr>
            <a:lvl9pPr>
              <a:lnSpc>
                <a:spcPts val="12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de-DE"/>
              <a:t>Bildunterzeile </a:t>
            </a:r>
            <a:r>
              <a:rPr lang="de-DE" err="1"/>
              <a:t>Bildunterzeile</a:t>
            </a:r>
            <a:r>
              <a:rPr lang="de-DE"/>
              <a:t> // für weitere Ebenen (Text)  &gt;&gt; Menü &gt; Start &gt; Absatz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622643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5" userDrawn="1">
          <p15:clr>
            <a:srgbClr val="FBAE40"/>
          </p15:clr>
        </p15:guide>
        <p15:guide id="2" pos="5443" userDrawn="1">
          <p15:clr>
            <a:srgbClr val="FBAE40"/>
          </p15:clr>
        </p15:guide>
        <p15:guide id="3" orient="horz" pos="291">
          <p15:clr>
            <a:srgbClr val="FBAE40"/>
          </p15:clr>
        </p15:guide>
        <p15:guide id="4" orient="horz" pos="1963" userDrawn="1">
          <p15:clr>
            <a:srgbClr val="FBAE40"/>
          </p15:clr>
        </p15:guide>
        <p15:guide id="5" pos="279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468000" y="396000"/>
            <a:ext cx="7560000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KAPITEL | CHART-HEADLINE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468000" y="918000"/>
            <a:ext cx="7560000" cy="336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err="1"/>
              <a:t>Subline</a:t>
            </a:r>
            <a:r>
              <a:rPr lang="de-DE"/>
              <a:t> auf erster Ebene // für weitere Ebenen (Text und Aufzählungen &gt;&gt; Menü &gt; Start &gt; Absatz &gt; Listenebe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360000" y="5524114"/>
            <a:ext cx="4284008" cy="17998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720000" y="4752000"/>
            <a:ext cx="6300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324000" y="4752000"/>
            <a:ext cx="252000" cy="1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1200" baseline="0">
                <a:latin typeface="+mn-lt"/>
              </a:defRPr>
            </a:lvl9pPr>
          </a:lstStyle>
          <a:p>
            <a:fld id="{6C8FC03C-C266-4645-ABC5-645062898383}" type="slidenum">
              <a:rPr lang="de-DE" smtClean="0"/>
              <a:pPr/>
              <a:t>‹Nr.›</a:t>
            </a:fld>
            <a:r>
              <a:rPr lang="de-DE"/>
              <a:t> </a:t>
            </a:r>
          </a:p>
        </p:txBody>
      </p:sp>
      <p:grpSp>
        <p:nvGrpSpPr>
          <p:cNvPr id="31" name="Regieanweisungen"/>
          <p:cNvGrpSpPr/>
          <p:nvPr userDrawn="1"/>
        </p:nvGrpSpPr>
        <p:grpSpPr>
          <a:xfrm>
            <a:off x="-2088000" y="-468000"/>
            <a:ext cx="13284000" cy="6083999"/>
            <a:chOff x="-2088000" y="-468000"/>
            <a:chExt cx="13284000" cy="6083999"/>
          </a:xfrm>
        </p:grpSpPr>
        <p:grpSp>
          <p:nvGrpSpPr>
            <p:cNvPr id="29" name="Listenebenen"/>
            <p:cNvGrpSpPr/>
            <p:nvPr userDrawn="1"/>
          </p:nvGrpSpPr>
          <p:grpSpPr>
            <a:xfrm>
              <a:off x="-2088000" y="1368000"/>
              <a:ext cx="1980000" cy="2319874"/>
              <a:chOff x="-2088000" y="1368000"/>
              <a:chExt cx="1980000" cy="2319874"/>
            </a:xfrm>
          </p:grpSpPr>
          <p:sp>
            <p:nvSpPr>
              <p:cNvPr id="12" name="Text // Listenebene erhöhen"/>
              <p:cNvSpPr txBox="1"/>
              <p:nvPr userDrawn="1"/>
            </p:nvSpPr>
            <p:spPr>
              <a:xfrm>
                <a:off x="-2016000" y="2787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13" name="Text // Listenebene verringern"/>
              <p:cNvSpPr txBox="1"/>
              <p:nvPr userDrawn="1"/>
            </p:nvSpPr>
            <p:spPr>
              <a:xfrm>
                <a:off x="-2016000" y="3291874"/>
                <a:ext cx="936000" cy="396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5" name="Listenebenen"/>
              <p:cNvSpPr txBox="1"/>
              <p:nvPr userDrawn="1"/>
            </p:nvSpPr>
            <p:spPr>
              <a:xfrm rot="10800000" flipH="1" flipV="1">
                <a:off x="-2088000" y="1368000"/>
                <a:ext cx="1980000" cy="8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>
                    <a:solidFill>
                      <a:schemeClr val="tx1"/>
                    </a:solidFill>
                    <a:latin typeface="+mn-lt"/>
                  </a:rPr>
                  <a:t>Listen erstellen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>
                    <a:solidFill>
                      <a:schemeClr val="tx1"/>
                    </a:solidFill>
                    <a:latin typeface="+mn-lt"/>
                  </a:rPr>
                  <a:t>Wechseln Sie die Textebene</a:t>
                </a:r>
              </a:p>
              <a:p>
                <a:pPr marL="0" marR="0" lvl="0" indent="0" algn="r" defTabSz="905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200" b="0" baseline="0">
                    <a:solidFill>
                      <a:schemeClr val="tx1"/>
                    </a:solidFill>
                    <a:latin typeface="+mn-lt"/>
                  </a:rPr>
                  <a:t>im Menü über: </a:t>
                </a:r>
                <a:br>
                  <a:rPr lang="de-DE" sz="1200" b="0" baseline="0">
                    <a:solidFill>
                      <a:schemeClr val="tx1"/>
                    </a:solidFill>
                    <a:latin typeface="+mn-lt"/>
                  </a:rPr>
                </a:br>
                <a:r>
                  <a:rPr lang="de-DE" sz="1200" b="1" baseline="0">
                    <a:solidFill>
                      <a:schemeClr val="tx1"/>
                    </a:solidFill>
                    <a:latin typeface="+mn-lt"/>
                  </a:rPr>
                  <a:t>Start &gt; Absatz &gt; Listenebene erhöhen/verringern</a:t>
                </a:r>
              </a:p>
            </p:txBody>
          </p:sp>
          <p:pic>
            <p:nvPicPr>
              <p:cNvPr id="27" name="Bild // Listenebene verringern"/>
              <p:cNvPicPr>
                <a:picLocks noChangeAspect="1"/>
              </p:cNvPicPr>
              <p:nvPr userDrawn="1"/>
            </p:nvPicPr>
            <p:blipFill>
              <a:blip r:embed="rId20"/>
              <a:stretch>
                <a:fillRect/>
              </a:stretch>
            </p:blipFill>
            <p:spPr>
              <a:xfrm>
                <a:off x="-963360" y="3291874"/>
                <a:ext cx="855360" cy="396000"/>
              </a:xfrm>
              <a:prstGeom prst="rect">
                <a:avLst/>
              </a:prstGeom>
            </p:spPr>
          </p:pic>
          <p:pic>
            <p:nvPicPr>
              <p:cNvPr id="28" name="Bild // Listenebene erhöhen"/>
              <p:cNvPicPr>
                <a:picLocks noChangeAspect="1"/>
              </p:cNvPicPr>
              <p:nvPr userDrawn="1"/>
            </p:nvPicPr>
            <p:blipFill>
              <a:blip r:embed="rId21"/>
              <a:stretch>
                <a:fillRect/>
              </a:stretch>
            </p:blipFill>
            <p:spPr>
              <a:xfrm>
                <a:off x="-963360" y="2787874"/>
                <a:ext cx="855360" cy="396000"/>
              </a:xfrm>
              <a:prstGeom prst="rect">
                <a:avLst/>
              </a:prstGeom>
            </p:spPr>
          </p:pic>
        </p:grpSp>
        <p:sp>
          <p:nvSpPr>
            <p:cNvPr id="14" name="Zurücksetzen"/>
            <p:cNvSpPr txBox="1"/>
            <p:nvPr userDrawn="1"/>
          </p:nvSpPr>
          <p:spPr>
            <a:xfrm rot="10800000" flipH="1" flipV="1">
              <a:off x="9252000" y="648000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31801" y="-468000"/>
              <a:ext cx="82804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ü: 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431800" y="5255998"/>
              <a:ext cx="8280400" cy="360001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34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2283786"/>
              <a:ext cx="1944000" cy="61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2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2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905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</p:grp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61B1FA0-8233-4248-B899-BF9702E3E986}"/>
              </a:ext>
            </a:extLst>
          </p:cNvPr>
          <p:cNvCxnSpPr/>
          <p:nvPr userDrawn="1"/>
        </p:nvCxnSpPr>
        <p:spPr>
          <a:xfrm>
            <a:off x="0" y="4485600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289C4D98-9606-4382-895C-2F9999CA3289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7308000" y="4679640"/>
            <a:ext cx="1512000" cy="2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41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0" r:id="rId4"/>
    <p:sldLayoutId id="2147483667" r:id="rId5"/>
    <p:sldLayoutId id="2147483669" r:id="rId6"/>
    <p:sldLayoutId id="2147483658" r:id="rId7"/>
    <p:sldLayoutId id="2147483659" r:id="rId8"/>
    <p:sldLayoutId id="2147483660" r:id="rId9"/>
    <p:sldLayoutId id="2147483661" r:id="rId10"/>
    <p:sldLayoutId id="2147483663" r:id="rId11"/>
    <p:sldLayoutId id="2147483662" r:id="rId12"/>
    <p:sldLayoutId id="2147483664" r:id="rId13"/>
    <p:sldLayoutId id="2147483665" r:id="rId14"/>
    <p:sldLayoutId id="2147483666" r:id="rId15"/>
    <p:sldLayoutId id="2147483654" r:id="rId16"/>
    <p:sldLayoutId id="2147483655" r:id="rId17"/>
    <p:sldLayoutId id="2147483670" r:id="rId18"/>
  </p:sldLayoutIdLst>
  <p:hf hdr="0" dt="0"/>
  <p:txStyles>
    <p:title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700" b="0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1200"/>
        </a:spcAft>
        <a:buSzPct val="75000"/>
        <a:buFont typeface="Arial" panose="020B0604020202020204" pitchFamily="34" charset="0"/>
        <a:buNone/>
        <a:defRPr sz="1500" b="1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234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bg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468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702000" indent="-23400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SzPct val="75000"/>
        <a:buFont typeface="Arial" panose="020B0604020202020204" pitchFamily="34" charset="0"/>
        <a:buNone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2" userDrawn="1">
          <p15:clr>
            <a:srgbClr val="5ACBF0"/>
          </p15:clr>
        </p15:guide>
        <p15:guide id="2" pos="5059" userDrawn="1">
          <p15:clr>
            <a:srgbClr val="5ACBF0"/>
          </p15:clr>
        </p15:guide>
        <p15:guide id="3" orient="horz" pos="245" userDrawn="1">
          <p15:clr>
            <a:srgbClr val="5ACBF0"/>
          </p15:clr>
        </p15:guide>
        <p15:guide id="4" orient="horz" pos="2700" userDrawn="1">
          <p15:clr>
            <a:srgbClr val="5ACBF0"/>
          </p15:clr>
        </p15:guide>
        <p15:guide id="5" pos="5443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9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7" Type="http://schemas.openxmlformats.org/officeDocument/2006/relationships/image" Target="../media/image29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8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draußen, Gebäude, Wasser, groß enthält.&#10;&#10;Automatisch generierte Beschreibung">
            <a:extLst>
              <a:ext uri="{FF2B5EF4-FFF2-40B4-BE49-F238E27FC236}">
                <a16:creationId xmlns:a16="http://schemas.microsoft.com/office/drawing/2014/main" id="{9630A345-5842-47A2-BA27-F0F55B82C24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4" b="2361"/>
          <a:stretch/>
        </p:blipFill>
        <p:spPr>
          <a:xfrm>
            <a:off x="-4834" y="-1"/>
            <a:ext cx="9148810" cy="5143501"/>
          </a:xfr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71600" y="2472629"/>
            <a:ext cx="6336704" cy="1477327"/>
          </a:xfrm>
        </p:spPr>
        <p:txBody>
          <a:bodyPr anchor="t">
            <a:normAutofit/>
          </a:bodyPr>
          <a:lstStyle/>
          <a:p>
            <a:r>
              <a:rPr lang="de-DE" sz="3300" dirty="0"/>
              <a:t>Tutorium zur VL. Sitzung (11) und (12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116013" y="3418563"/>
            <a:ext cx="5472112" cy="1152525"/>
          </a:xfr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 marL="447675" indent="-28575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62547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3pPr>
            <a:lvl4pPr marL="901700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4pPr>
            <a:lvl5pPr marL="1165225" indent="-228600" algn="l" defTabSz="914400" rtl="0" eaLnBrk="1" latinLnBrk="0" hangingPunct="1">
              <a:buClr>
                <a:schemeClr val="accent1"/>
              </a:buClr>
              <a:buFont typeface="Wingdings" panose="05000000000000000000" pitchFamily="2" charset="2"/>
              <a:buChar char="§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r>
              <a:rPr lang="de-DE" sz="2000" dirty="0"/>
              <a:t>Sozialstruktur und sozialer Wandel</a:t>
            </a:r>
            <a:endParaRPr lang="de-DE" sz="1200" dirty="0"/>
          </a:p>
          <a:p>
            <a:pPr marL="0" indent="0">
              <a:lnSpc>
                <a:spcPct val="90000"/>
              </a:lnSpc>
              <a:buNone/>
            </a:pPr>
            <a:endParaRPr lang="de-DE" sz="12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809833B-99C6-4DE4-8502-C3CF07774921}"/>
              </a:ext>
            </a:extLst>
          </p:cNvPr>
          <p:cNvSpPr/>
          <p:nvPr/>
        </p:nvSpPr>
        <p:spPr>
          <a:xfrm>
            <a:off x="110846" y="169835"/>
            <a:ext cx="3741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chemeClr val="tx2"/>
                </a:solidFill>
                <a:latin typeface="Calibri-Bold"/>
              </a:rPr>
              <a:t>FAKULTÄT FÜR SOZIALWISSENSCHAFT</a:t>
            </a:r>
            <a:endParaRPr lang="de-DE" dirty="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1731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177039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Fazit zur </a:t>
            </a:r>
            <a:r>
              <a:rPr lang="de-DE" altLang="de-DE" sz="2800" dirty="0" err="1">
                <a:latin typeface="Arial" panose="020B0604020202020204" pitchFamily="34" charset="0"/>
                <a:cs typeface="Arial" panose="020B0604020202020204" pitchFamily="34" charset="0"/>
              </a:rPr>
              <a:t>Vergeschlechtlichung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0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357" y="692793"/>
            <a:ext cx="8827080" cy="4029508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ym typeface="Wingdings" panose="05000000000000000000" pitchFamily="2" charset="2"/>
              </a:rPr>
              <a:t>Hierarchische</a:t>
            </a:r>
            <a:r>
              <a:rPr lang="de-DE" sz="1800" b="0" dirty="0">
                <a:sym typeface="Wingdings" panose="05000000000000000000" pitchFamily="2" charset="2"/>
              </a:rPr>
              <a:t> </a:t>
            </a:r>
            <a:r>
              <a:rPr lang="de-DE" sz="1800" dirty="0">
                <a:sym typeface="Wingdings" panose="05000000000000000000" pitchFamily="2" charset="2"/>
              </a:rPr>
              <a:t>Geschlechterverhältnisse</a:t>
            </a:r>
            <a:r>
              <a:rPr lang="de-DE" sz="1800" b="0" dirty="0">
                <a:sym typeface="Wingdings" panose="05000000000000000000" pitchFamily="2" charset="2"/>
              </a:rPr>
              <a:t> stark verwurzelt (auch noch) in der Modern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Wichtig: </a:t>
            </a:r>
            <a:r>
              <a:rPr lang="de-DE" sz="1800" dirty="0">
                <a:sym typeface="Wingdings" panose="05000000000000000000" pitchFamily="2" charset="2"/>
              </a:rPr>
              <a:t>geschlechterfreie Moderne </a:t>
            </a:r>
            <a:r>
              <a:rPr lang="de-DE" sz="1800" b="0" dirty="0">
                <a:sym typeface="Wingdings" panose="05000000000000000000" pitchFamily="2" charset="2"/>
              </a:rPr>
              <a:t>gibt</a:t>
            </a:r>
            <a:r>
              <a:rPr lang="de-DE" sz="1800" dirty="0">
                <a:sym typeface="Wingdings" panose="05000000000000000000" pitchFamily="2" charset="2"/>
              </a:rPr>
              <a:t> </a:t>
            </a:r>
            <a:r>
              <a:rPr lang="de-DE" sz="1800" b="0" dirty="0">
                <a:sym typeface="Wingdings" panose="05000000000000000000" pitchFamily="2" charset="2"/>
              </a:rPr>
              <a:t>es </a:t>
            </a:r>
            <a:r>
              <a:rPr lang="de-DE" sz="1800" dirty="0">
                <a:sym typeface="Wingdings" panose="05000000000000000000" pitchFamily="2" charset="2"/>
              </a:rPr>
              <a:t>nicht</a:t>
            </a:r>
            <a:r>
              <a:rPr lang="de-DE" sz="1800" b="0" dirty="0">
                <a:sym typeface="Wingdings" panose="05000000000000000000" pitchFamily="2" charset="2"/>
              </a:rPr>
              <a:t>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ym typeface="Wingdings" panose="05000000000000000000" pitchFamily="2" charset="2"/>
              </a:rPr>
              <a:t>Klassische</a:t>
            </a:r>
            <a:r>
              <a:rPr lang="de-DE" sz="1800" b="0" dirty="0">
                <a:sym typeface="Wingdings" panose="05000000000000000000" pitchFamily="2" charset="2"/>
              </a:rPr>
              <a:t> Modernisierungstheorie sind „</a:t>
            </a:r>
            <a:r>
              <a:rPr lang="de-DE" sz="1800" dirty="0">
                <a:sym typeface="Wingdings" panose="05000000000000000000" pitchFamily="2" charset="2"/>
              </a:rPr>
              <a:t>Geschlechterblind</a:t>
            </a:r>
            <a:r>
              <a:rPr lang="de-DE" sz="1800" b="0" dirty="0">
                <a:sym typeface="Wingdings" panose="05000000000000000000" pitchFamily="2" charset="2"/>
              </a:rPr>
              <a:t>“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Wohingegen </a:t>
            </a:r>
            <a:r>
              <a:rPr lang="de-DE" sz="1800" dirty="0">
                <a:sym typeface="Wingdings" panose="05000000000000000000" pitchFamily="2" charset="2"/>
              </a:rPr>
              <a:t>Geschlechtertheorie</a:t>
            </a:r>
            <a:r>
              <a:rPr lang="de-DE" sz="1800" b="0" dirty="0">
                <a:sym typeface="Wingdings" panose="05000000000000000000" pitchFamily="2" charset="2"/>
              </a:rPr>
              <a:t> </a:t>
            </a:r>
            <a:r>
              <a:rPr lang="de-DE" sz="1800" dirty="0">
                <a:sym typeface="Wingdings" panose="05000000000000000000" pitchFamily="2" charset="2"/>
              </a:rPr>
              <a:t>gesellschaftstheoretische</a:t>
            </a:r>
            <a:r>
              <a:rPr lang="de-DE" sz="1800" b="0" dirty="0">
                <a:sym typeface="Wingdings" panose="05000000000000000000" pitchFamily="2" charset="2"/>
              </a:rPr>
              <a:t> </a:t>
            </a:r>
            <a:r>
              <a:rPr lang="de-DE" sz="1800" dirty="0">
                <a:sym typeface="Wingdings" panose="05000000000000000000" pitchFamily="2" charset="2"/>
              </a:rPr>
              <a:t>Defizite</a:t>
            </a:r>
            <a:r>
              <a:rPr lang="de-DE" sz="1800" b="0" dirty="0">
                <a:sym typeface="Wingdings" panose="05000000000000000000" pitchFamily="2" charset="2"/>
              </a:rPr>
              <a:t> aufweisen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Apell: </a:t>
            </a:r>
            <a:r>
              <a:rPr lang="de-DE" sz="1800" dirty="0">
                <a:sym typeface="Wingdings" panose="05000000000000000000" pitchFamily="2" charset="2"/>
              </a:rPr>
              <a:t>Zusammenführung</a:t>
            </a:r>
            <a:r>
              <a:rPr lang="de-DE" sz="1800" b="0" dirty="0">
                <a:sym typeface="Wingdings" panose="05000000000000000000" pitchFamily="2" charset="2"/>
              </a:rPr>
              <a:t> von </a:t>
            </a:r>
            <a:r>
              <a:rPr lang="de-DE" sz="1800" dirty="0">
                <a:sym typeface="Wingdings" panose="05000000000000000000" pitchFamily="2" charset="2"/>
              </a:rPr>
              <a:t>geschlechter- &amp; gesellschaftsheoretischer Perspektive</a:t>
            </a:r>
            <a:endParaRPr lang="de-DE" sz="1800" dirty="0">
              <a:highlight>
                <a:srgbClr val="FFFF00"/>
              </a:highlight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r>
              <a:rPr lang="de-DE" sz="1400" b="0" dirty="0" err="1">
                <a:highlight>
                  <a:srgbClr val="FFFF00"/>
                </a:highlight>
                <a:sym typeface="Wingdings" panose="05000000000000000000" pitchFamily="2" charset="2"/>
              </a:rPr>
              <a:t>Degele</a:t>
            </a:r>
            <a:r>
              <a:rPr lang="de-DE" sz="1400" b="0" dirty="0">
                <a:highlight>
                  <a:srgbClr val="FFFF00"/>
                </a:highlight>
                <a:sym typeface="Wingdings" panose="05000000000000000000" pitchFamily="2" charset="2"/>
              </a:rPr>
              <a:t> &amp; Dries 2005 Perspektive: „</a:t>
            </a:r>
            <a:r>
              <a:rPr lang="de-DE" sz="1400" b="0" dirty="0" err="1">
                <a:highlight>
                  <a:srgbClr val="FFFF00"/>
                </a:highlight>
                <a:sym typeface="Wingdings" panose="05000000000000000000" pitchFamily="2" charset="2"/>
              </a:rPr>
              <a:t>Vergeschlechtlichung</a:t>
            </a:r>
            <a:r>
              <a:rPr lang="de-DE" sz="1400" b="0" dirty="0">
                <a:highlight>
                  <a:srgbClr val="FFFF00"/>
                </a:highlight>
                <a:sym typeface="Wingdings" panose="05000000000000000000" pitchFamily="2" charset="2"/>
              </a:rPr>
              <a:t>“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ym typeface="Wingdings" panose="05000000000000000000" pitchFamily="2" charset="2"/>
              </a:rPr>
              <a:t>Systematischer Einbezug </a:t>
            </a:r>
            <a:r>
              <a:rPr lang="de-DE" sz="1800" b="0" dirty="0">
                <a:sym typeface="Wingdings" panose="05000000000000000000" pitchFamily="2" charset="2"/>
              </a:rPr>
              <a:t>des Geschlechts (als 8 Faktor) &amp; </a:t>
            </a:r>
            <a:r>
              <a:rPr lang="de-DE" sz="1800" dirty="0">
                <a:sym typeface="Wingdings" panose="05000000000000000000" pitchFamily="2" charset="2"/>
              </a:rPr>
              <a:t>kritische Perspektiv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ym typeface="Wingdings" panose="05000000000000000000" pitchFamily="2" charset="2"/>
              </a:rPr>
              <a:t> </a:t>
            </a:r>
            <a:r>
              <a:rPr lang="de-DE" sz="1800" b="0" dirty="0">
                <a:sym typeface="Wingdings" panose="05000000000000000000" pitchFamily="2" charset="2"/>
              </a:rPr>
              <a:t>jedoch </a:t>
            </a:r>
            <a:r>
              <a:rPr lang="de-DE" sz="1800" dirty="0">
                <a:sym typeface="Wingdings" panose="05000000000000000000" pitchFamily="2" charset="2"/>
              </a:rPr>
              <a:t>isoliert</a:t>
            </a:r>
            <a:r>
              <a:rPr lang="de-DE" sz="1800" b="0" dirty="0">
                <a:sym typeface="Wingdings" panose="05000000000000000000" pitchFamily="2" charset="2"/>
              </a:rPr>
              <a:t>, Geschlecht bleibt </a:t>
            </a:r>
            <a:r>
              <a:rPr lang="de-DE" sz="1800" dirty="0">
                <a:sym typeface="Wingdings" panose="05000000000000000000" pitchFamily="2" charset="2"/>
              </a:rPr>
              <a:t>in restlichen 7 Faktoren unberücksichtig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>
              <a:sym typeface="Wingdings" panose="05000000000000000000" pitchFamily="2" charset="2"/>
            </a:endParaRP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2" name="Grafik 1" descr="Marke folgen mit einfarbiger Füllung">
            <a:extLst>
              <a:ext uri="{FF2B5EF4-FFF2-40B4-BE49-F238E27FC236}">
                <a16:creationId xmlns:a16="http://schemas.microsoft.com/office/drawing/2014/main" id="{62BC010D-5C75-4F83-BD0E-E899A6E28D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4201" y="3658779"/>
            <a:ext cx="457199" cy="457199"/>
          </a:xfrm>
          <a:prstGeom prst="rect">
            <a:avLst/>
          </a:prstGeom>
        </p:spPr>
      </p:pic>
      <p:pic>
        <p:nvPicPr>
          <p:cNvPr id="5" name="Grafik 4" descr="Markee nicht mehr folgen mit einfarbiger Füllung">
            <a:extLst>
              <a:ext uri="{FF2B5EF4-FFF2-40B4-BE49-F238E27FC236}">
                <a16:creationId xmlns:a16="http://schemas.microsoft.com/office/drawing/2014/main" id="{AE1196FC-0E67-A960-83A9-0250821B140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9881" y="4093045"/>
            <a:ext cx="457199" cy="457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290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Zusammenfassung der vier neuen </a:t>
            </a:r>
            <a:r>
              <a:rPr lang="de-DE" altLang="de-DE" sz="2800" dirty="0" err="1">
                <a:latin typeface="Arial" panose="020B0604020202020204" pitchFamily="34" charset="0"/>
                <a:cs typeface="Arial" panose="020B0604020202020204" pitchFamily="34" charset="0"/>
              </a:rPr>
              <a:t>Amvibaloxa</a:t>
            </a: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 II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1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896" y="830492"/>
            <a:ext cx="8494104" cy="4029508"/>
          </a:xfrm>
        </p:spPr>
        <p:txBody>
          <a:bodyPr/>
          <a:lstStyle/>
          <a:p>
            <a:pPr marL="342900" indent="-342900">
              <a:lnSpc>
                <a:spcPct val="100000"/>
              </a:lnSpc>
              <a:buAutoNum type="arabicParenR"/>
            </a:pPr>
            <a:r>
              <a:rPr lang="de-DE" sz="1800" dirty="0">
                <a:sym typeface="Wingdings" panose="05000000000000000000" pitchFamily="2" charset="2"/>
              </a:rPr>
              <a:t>Beschleunigung                         </a:t>
            </a:r>
            <a:r>
              <a:rPr lang="de-DE" sz="1400" b="0" dirty="0">
                <a:sym typeface="Wingdings" panose="05000000000000000000" pitchFamily="2" charset="2"/>
              </a:rPr>
              <a:t>Gleichzeitig</a:t>
            </a:r>
          </a:p>
          <a:p>
            <a:pPr marL="342900" indent="-342900">
              <a:lnSpc>
                <a:spcPct val="100000"/>
              </a:lnSpc>
              <a:buAutoNum type="arabicParenR"/>
            </a:pPr>
            <a:endParaRPr lang="de-DE" sz="180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r>
              <a:rPr lang="de-DE" sz="1800" dirty="0">
                <a:sym typeface="Wingdings" panose="05000000000000000000" pitchFamily="2" charset="2"/>
              </a:rPr>
              <a:t>2) Globalisierung</a:t>
            </a:r>
          </a:p>
          <a:p>
            <a:pPr>
              <a:lnSpc>
                <a:spcPct val="100000"/>
              </a:lnSpc>
            </a:pPr>
            <a:endParaRPr lang="de-DE" sz="180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r>
              <a:rPr lang="de-DE" sz="1800" dirty="0">
                <a:sym typeface="Wingdings" panose="05000000000000000000" pitchFamily="2" charset="2"/>
              </a:rPr>
              <a:t>3) Integration</a:t>
            </a:r>
          </a:p>
          <a:p>
            <a:pPr>
              <a:lnSpc>
                <a:spcPct val="100000"/>
              </a:lnSpc>
            </a:pPr>
            <a:endParaRPr lang="de-DE" sz="180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r>
              <a:rPr lang="de-DE" sz="1800" dirty="0">
                <a:sym typeface="Wingdings" panose="05000000000000000000" pitchFamily="2" charset="2"/>
              </a:rPr>
              <a:t>4) </a:t>
            </a:r>
            <a:r>
              <a:rPr lang="de-DE" sz="1800" dirty="0" err="1">
                <a:sym typeface="Wingdings" panose="05000000000000000000" pitchFamily="2" charset="2"/>
              </a:rPr>
              <a:t>Vergeschlechtlichung</a:t>
            </a:r>
            <a:endParaRPr lang="de-DE" sz="18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3" name="Grafik 2" descr="Markee nicht mehr folgen mit einfarbiger Füllung">
            <a:extLst>
              <a:ext uri="{FF2B5EF4-FFF2-40B4-BE49-F238E27FC236}">
                <a16:creationId xmlns:a16="http://schemas.microsoft.com/office/drawing/2014/main" id="{262C911B-4570-2234-FD44-069F0716F9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53169" y="543583"/>
            <a:ext cx="457199" cy="457199"/>
          </a:xfrm>
          <a:prstGeom prst="rect">
            <a:avLst/>
          </a:prstGeom>
        </p:spPr>
      </p:pic>
      <p:pic>
        <p:nvPicPr>
          <p:cNvPr id="7" name="Grafik 6" descr="Marke folgen mit einfarbiger Füllung">
            <a:extLst>
              <a:ext uri="{FF2B5EF4-FFF2-40B4-BE49-F238E27FC236}">
                <a16:creationId xmlns:a16="http://schemas.microsoft.com/office/drawing/2014/main" id="{31C0E3EE-B2BC-1703-A482-5FEC88393E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97803" y="549883"/>
            <a:ext cx="457199" cy="457199"/>
          </a:xfrm>
          <a:prstGeom prst="rect">
            <a:avLst/>
          </a:prstGeom>
        </p:spPr>
      </p:pic>
      <p:graphicFrame>
        <p:nvGraphicFramePr>
          <p:cNvPr id="5" name="Tabelle 7">
            <a:extLst>
              <a:ext uri="{FF2B5EF4-FFF2-40B4-BE49-F238E27FC236}">
                <a16:creationId xmlns:a16="http://schemas.microsoft.com/office/drawing/2014/main" id="{FBFA6A4C-A9A1-A035-9E44-704459698F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3428722"/>
              </p:ext>
            </p:extLst>
          </p:nvPr>
        </p:nvGraphicFramePr>
        <p:xfrm>
          <a:off x="924000" y="1183672"/>
          <a:ext cx="7570104" cy="4975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85052">
                  <a:extLst>
                    <a:ext uri="{9D8B030D-6E8A-4147-A177-3AD203B41FA5}">
                      <a16:colId xmlns:a16="http://schemas.microsoft.com/office/drawing/2014/main" val="1747392495"/>
                    </a:ext>
                  </a:extLst>
                </a:gridCol>
                <a:gridCol w="3785052">
                  <a:extLst>
                    <a:ext uri="{9D8B030D-6E8A-4147-A177-3AD203B41FA5}">
                      <a16:colId xmlns:a16="http://schemas.microsoft.com/office/drawing/2014/main" val="2811562651"/>
                    </a:ext>
                  </a:extLst>
                </a:gridCol>
              </a:tblGrid>
              <a:tr h="497568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787944"/>
                  </a:ext>
                </a:extLst>
              </a:tr>
            </a:tbl>
          </a:graphicData>
        </a:graphic>
      </p:graphicFrame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1CCAF2DD-8499-68B5-1240-379541FAB0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9388866"/>
              </p:ext>
            </p:extLst>
          </p:nvPr>
        </p:nvGraphicFramePr>
        <p:xfrm>
          <a:off x="919110" y="2003320"/>
          <a:ext cx="7570104" cy="4975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85052">
                  <a:extLst>
                    <a:ext uri="{9D8B030D-6E8A-4147-A177-3AD203B41FA5}">
                      <a16:colId xmlns:a16="http://schemas.microsoft.com/office/drawing/2014/main" val="1747392495"/>
                    </a:ext>
                  </a:extLst>
                </a:gridCol>
                <a:gridCol w="3785052">
                  <a:extLst>
                    <a:ext uri="{9D8B030D-6E8A-4147-A177-3AD203B41FA5}">
                      <a16:colId xmlns:a16="http://schemas.microsoft.com/office/drawing/2014/main" val="2811562651"/>
                    </a:ext>
                  </a:extLst>
                </a:gridCol>
              </a:tblGrid>
              <a:tr h="497568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787944"/>
                  </a:ext>
                </a:extLst>
              </a:tr>
            </a:tbl>
          </a:graphicData>
        </a:graphic>
      </p:graphicFrame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4A0793CC-C52F-C9C5-6502-BCD564447E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290434"/>
              </p:ext>
            </p:extLst>
          </p:nvPr>
        </p:nvGraphicFramePr>
        <p:xfrm>
          <a:off x="919110" y="2875456"/>
          <a:ext cx="7570104" cy="4975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85052">
                  <a:extLst>
                    <a:ext uri="{9D8B030D-6E8A-4147-A177-3AD203B41FA5}">
                      <a16:colId xmlns:a16="http://schemas.microsoft.com/office/drawing/2014/main" val="1747392495"/>
                    </a:ext>
                  </a:extLst>
                </a:gridCol>
                <a:gridCol w="3785052">
                  <a:extLst>
                    <a:ext uri="{9D8B030D-6E8A-4147-A177-3AD203B41FA5}">
                      <a16:colId xmlns:a16="http://schemas.microsoft.com/office/drawing/2014/main" val="2811562651"/>
                    </a:ext>
                  </a:extLst>
                </a:gridCol>
              </a:tblGrid>
              <a:tr h="497568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787944"/>
                  </a:ext>
                </a:extLst>
              </a:tr>
            </a:tbl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330ECD52-2243-AFE9-7DF5-3EFDE4F385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2839334"/>
              </p:ext>
            </p:extLst>
          </p:nvPr>
        </p:nvGraphicFramePr>
        <p:xfrm>
          <a:off x="919110" y="3743082"/>
          <a:ext cx="7570104" cy="50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85052">
                  <a:extLst>
                    <a:ext uri="{9D8B030D-6E8A-4147-A177-3AD203B41FA5}">
                      <a16:colId xmlns:a16="http://schemas.microsoft.com/office/drawing/2014/main" val="1747392495"/>
                    </a:ext>
                  </a:extLst>
                </a:gridCol>
                <a:gridCol w="3785052">
                  <a:extLst>
                    <a:ext uri="{9D8B030D-6E8A-4147-A177-3AD203B41FA5}">
                      <a16:colId xmlns:a16="http://schemas.microsoft.com/office/drawing/2014/main" val="2811562651"/>
                    </a:ext>
                  </a:extLst>
                </a:gridCol>
              </a:tblGrid>
              <a:tr h="497568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r>
                        <a:rPr lang="de-DE" dirty="0">
                          <a:solidFill>
                            <a:schemeClr val="tx1"/>
                          </a:solidFill>
                        </a:rPr>
                        <a:t>   -</a:t>
                      </a:r>
                    </a:p>
                  </a:txBody>
                  <a:tcPr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787944"/>
                  </a:ext>
                </a:extLst>
              </a:tr>
            </a:tbl>
          </a:graphicData>
        </a:graphic>
      </p:graphicFrame>
      <p:pic>
        <p:nvPicPr>
          <p:cNvPr id="14" name="Grafik 13" descr="Ausrufezeichen mit einfarbiger Füllung">
            <a:extLst>
              <a:ext uri="{FF2B5EF4-FFF2-40B4-BE49-F238E27FC236}">
                <a16:creationId xmlns:a16="http://schemas.microsoft.com/office/drawing/2014/main" id="{92F4C46F-BF9C-F90A-7798-A149A06C7D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33119" y="180411"/>
            <a:ext cx="591771" cy="591771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BC5BE611-7CAE-FFE8-2B6C-A5B7AC5ED894}"/>
              </a:ext>
            </a:extLst>
          </p:cNvPr>
          <p:cNvSpPr txBox="1"/>
          <p:nvPr/>
        </p:nvSpPr>
        <p:spPr>
          <a:xfrm>
            <a:off x="919110" y="1192042"/>
            <a:ext cx="387640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dirty="0">
                <a:solidFill>
                  <a:schemeClr val="bg1"/>
                </a:solidFill>
              </a:rPr>
              <a:t>Moderne Technik entlastet Arbeit &amp; soziale Interaktionen zeitlich 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8017CCF4-F135-0EEF-DED1-575CCA1324EE}"/>
              </a:ext>
            </a:extLst>
          </p:cNvPr>
          <p:cNvSpPr txBox="1"/>
          <p:nvPr/>
        </p:nvSpPr>
        <p:spPr>
          <a:xfrm>
            <a:off x="919110" y="3733271"/>
            <a:ext cx="387640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 lang="de-DE" b="1" dirty="0">
              <a:solidFill>
                <a:schemeClr val="bg1"/>
              </a:solidFill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87333857-E04C-BEF6-6CA0-FA265C834A32}"/>
              </a:ext>
            </a:extLst>
          </p:cNvPr>
          <p:cNvSpPr txBox="1"/>
          <p:nvPr/>
        </p:nvSpPr>
        <p:spPr>
          <a:xfrm>
            <a:off x="1020539" y="1998188"/>
            <a:ext cx="387640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dirty="0">
                <a:solidFill>
                  <a:schemeClr val="bg1"/>
                </a:solidFill>
              </a:rPr>
              <a:t>Globalisierungstendenzen und Homogenisierungstendenz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166DD873-FDB0-E26B-3FF9-70902D6F2BD5}"/>
              </a:ext>
            </a:extLst>
          </p:cNvPr>
          <p:cNvSpPr txBox="1"/>
          <p:nvPr/>
        </p:nvSpPr>
        <p:spPr>
          <a:xfrm>
            <a:off x="4795519" y="1200381"/>
            <a:ext cx="363103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tx1"/>
                </a:solidFill>
              </a:rPr>
              <a:t>Beschleunigungsprozesse bewirken auch Gegenteil (Entschleunigung &amp; Stillstand) 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AD9326C-340E-03C6-599C-AC979F85A096}"/>
              </a:ext>
            </a:extLst>
          </p:cNvPr>
          <p:cNvSpPr txBox="1"/>
          <p:nvPr/>
        </p:nvSpPr>
        <p:spPr>
          <a:xfrm>
            <a:off x="3221379" y="2554571"/>
            <a:ext cx="31482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Arbeiten kein </a:t>
            </a:r>
            <a:r>
              <a:rPr lang="de-DE" sz="1200" b="1" dirty="0" err="1"/>
              <a:t>Ambivalox</a:t>
            </a:r>
            <a:r>
              <a:rPr lang="de-DE" sz="1200" b="1" dirty="0"/>
              <a:t> heraus </a:t>
            </a:r>
            <a:endParaRPr lang="de-DE" sz="1200" b="1" dirty="0">
              <a:solidFill>
                <a:schemeClr val="tx1"/>
              </a:solidFill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A72DE20-4534-C659-FD1A-FCD83C4EDEC0}"/>
              </a:ext>
            </a:extLst>
          </p:cNvPr>
          <p:cNvSpPr txBox="1"/>
          <p:nvPr/>
        </p:nvSpPr>
        <p:spPr>
          <a:xfrm>
            <a:off x="4678139" y="2898051"/>
            <a:ext cx="3891691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chemeClr val="tx1"/>
                </a:solidFill>
              </a:rPr>
              <a:t>Verbundenheit von einzelnen Teilen zu einer großen Einheit </a:t>
            </a:r>
            <a:r>
              <a:rPr lang="de-DE" sz="1200" b="1" dirty="0">
                <a:solidFill>
                  <a:schemeClr val="tx1"/>
                </a:solidFill>
                <a:sym typeface="Wingdings" panose="05000000000000000000" pitchFamily="2" charset="2"/>
              </a:rPr>
              <a:t> Gegenseite zur Differenzierung</a:t>
            </a:r>
            <a:endParaRPr lang="de-DE" sz="1200" b="1" dirty="0">
              <a:solidFill>
                <a:schemeClr val="tx1"/>
              </a:solidFill>
            </a:endParaRPr>
          </a:p>
          <a:p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7AA6D104-AB3C-DF20-0924-2D3C6FD35059}"/>
              </a:ext>
            </a:extLst>
          </p:cNvPr>
          <p:cNvSpPr txBox="1"/>
          <p:nvPr/>
        </p:nvSpPr>
        <p:spPr>
          <a:xfrm>
            <a:off x="4807493" y="2035907"/>
            <a:ext cx="3753749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tx1"/>
                </a:solidFill>
              </a:rPr>
              <a:t>Gleichzeitig auch </a:t>
            </a:r>
            <a:r>
              <a:rPr lang="de-DE" b="1" dirty="0" err="1"/>
              <a:t>H</a:t>
            </a:r>
            <a:r>
              <a:rPr lang="de-DE" b="1" dirty="0" err="1">
                <a:solidFill>
                  <a:schemeClr val="tx1"/>
                </a:solidFill>
              </a:rPr>
              <a:t>eterogenisierungs</a:t>
            </a:r>
            <a:r>
              <a:rPr lang="de-DE" b="1" dirty="0">
                <a:solidFill>
                  <a:schemeClr val="tx1"/>
                </a:solidFill>
              </a:rPr>
              <a:t>-Tendenzen &amp; De-Globalisierungstendenzen</a:t>
            </a:r>
          </a:p>
          <a:p>
            <a:endParaRPr lang="de-DE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5459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7" grpId="0"/>
      <p:bldP spid="18" grpId="0"/>
      <p:bldP spid="19" grpId="0"/>
      <p:bldP spid="20" grpId="0"/>
      <p:bldP spid="21" grpId="0"/>
      <p:bldP spid="22" grpId="0"/>
    </p:bld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67D0377-537F-617A-CA15-8B405D7474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  <a:p>
            <a:endParaRPr lang="de-DE" sz="1900" dirty="0"/>
          </a:p>
          <a:p>
            <a:pPr algn="ctr"/>
            <a:r>
              <a:rPr lang="de-DE" sz="1900" dirty="0"/>
              <a:t> Kapitel (12) Modernisierung: </a:t>
            </a:r>
          </a:p>
          <a:p>
            <a:pPr algn="ctr"/>
            <a:r>
              <a:rPr lang="de-DE" sz="1900" dirty="0"/>
              <a:t>Ende und/oder Neubeginn – Fazit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946A31-2587-2948-2905-83C89F2BC4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llgemeine Masterberatung | masterberatung@sowi.rub.de  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536D67B-FDA3-EA4E-917D-EF0256156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2</a:t>
            </a:fld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759486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177039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Fazit Modernisierung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3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357" y="692793"/>
            <a:ext cx="8827080" cy="4029508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Modernisierung = </a:t>
            </a:r>
            <a:r>
              <a:rPr lang="de-DE" sz="1800" dirty="0">
                <a:sym typeface="Wingdings" panose="05000000000000000000" pitchFamily="2" charset="2"/>
              </a:rPr>
              <a:t>Knäul zusammenhängender Prozess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Beurteilung nicht nur aus einer </a:t>
            </a:r>
            <a:r>
              <a:rPr lang="de-DE" sz="1800" dirty="0">
                <a:sym typeface="Wingdings" panose="05000000000000000000" pitchFamily="2" charset="2"/>
              </a:rPr>
              <a:t>Perspektive (8-Faktoren-Modell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ym typeface="Wingdings" panose="05000000000000000000" pitchFamily="2" charset="2"/>
              </a:rPr>
              <a:t>Betrachtung von „Gestern“ auf „Heute“  Blick aus Gegenwart</a:t>
            </a:r>
          </a:p>
          <a:p>
            <a:pPr>
              <a:lnSpc>
                <a:spcPct val="100000"/>
              </a:lnSpc>
            </a:pPr>
            <a:endParaRPr lang="de-DE" sz="1800" b="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r>
              <a:rPr lang="de-DE" sz="1800" dirty="0">
                <a:sym typeface="Wingdings" panose="05000000000000000000" pitchFamily="2" charset="2"/>
              </a:rPr>
              <a:t>Zukunftsoptionen: Ende oder Neubeginn?</a:t>
            </a:r>
          </a:p>
          <a:p>
            <a:pPr marL="342900" indent="-342900">
              <a:lnSpc>
                <a:spcPct val="100000"/>
              </a:lnSpc>
              <a:buAutoNum type="arabicParenR"/>
            </a:pPr>
            <a:r>
              <a:rPr lang="de-DE" sz="1800" dirty="0">
                <a:sym typeface="Wingdings" panose="05000000000000000000" pitchFamily="2" charset="2"/>
              </a:rPr>
              <a:t>Vollendung der Moderne </a:t>
            </a:r>
          </a:p>
          <a:p>
            <a:pPr marL="342900" indent="-342900">
              <a:lnSpc>
                <a:spcPct val="100000"/>
              </a:lnSpc>
              <a:buAutoNum type="arabicParenR"/>
            </a:pPr>
            <a:r>
              <a:rPr lang="de-DE" sz="1800" dirty="0">
                <a:sym typeface="Wingdings" panose="05000000000000000000" pitchFamily="2" charset="2"/>
              </a:rPr>
              <a:t>Radikalisierung </a:t>
            </a:r>
          </a:p>
          <a:p>
            <a:pPr marL="342900" indent="-342900">
              <a:lnSpc>
                <a:spcPct val="100000"/>
              </a:lnSpc>
              <a:buAutoNum type="arabicParenR"/>
            </a:pPr>
            <a:r>
              <a:rPr lang="de-DE" sz="1800" b="0" dirty="0">
                <a:sym typeface="Wingdings" panose="05000000000000000000" pitchFamily="2" charset="2"/>
              </a:rPr>
              <a:t>Reflexive Modernisierung</a:t>
            </a:r>
          </a:p>
          <a:p>
            <a:pPr marL="342900" indent="-342900">
              <a:lnSpc>
                <a:spcPct val="100000"/>
              </a:lnSpc>
              <a:buAutoNum type="arabicParenR"/>
            </a:pPr>
            <a:r>
              <a:rPr lang="de-DE" sz="1800" b="0" dirty="0">
                <a:sym typeface="Wingdings" panose="05000000000000000000" pitchFamily="2" charset="2"/>
              </a:rPr>
              <a:t>Postmodernisieru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>
              <a:sym typeface="Wingdings" panose="05000000000000000000" pitchFamily="2" charset="2"/>
            </a:endParaRP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2C99585A-B1A0-582C-DEEA-75F5626244E4}"/>
              </a:ext>
            </a:extLst>
          </p:cNvPr>
          <p:cNvSpPr/>
          <p:nvPr/>
        </p:nvSpPr>
        <p:spPr>
          <a:xfrm>
            <a:off x="5411976" y="3155950"/>
            <a:ext cx="1608023" cy="684530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Recherchearbeit</a:t>
            </a:r>
          </a:p>
          <a:p>
            <a:pPr algn="ctr"/>
            <a:r>
              <a:rPr lang="de-DE" dirty="0"/>
              <a:t>Kapitel 12 Folien 5-8</a:t>
            </a:r>
          </a:p>
        </p:txBody>
      </p:sp>
    </p:spTree>
    <p:extLst>
      <p:ext uri="{BB962C8B-B14F-4D97-AF65-F5344CB8AC3E}">
        <p14:creationId xmlns:p14="http://schemas.microsoft.com/office/powerpoint/2010/main" val="2282203113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Modernisierung Zukunft: Jürgen Habermas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4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947" y="895388"/>
            <a:ext cx="8317899" cy="373829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 dirty="0"/>
              <a:t>1) = </a:t>
            </a:r>
            <a:r>
              <a:rPr lang="de-DE" sz="1800" b="0" dirty="0">
                <a:solidFill>
                  <a:schemeClr val="accent2"/>
                </a:solidFill>
              </a:rPr>
              <a:t>Vollendung</a:t>
            </a:r>
            <a:r>
              <a:rPr lang="de-DE" sz="1800" b="0" dirty="0"/>
              <a:t> der Modern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Aktuell „</a:t>
            </a:r>
            <a:r>
              <a:rPr lang="de-DE" sz="1800" dirty="0"/>
              <a:t>halbierte Gesellschaft</a:t>
            </a:r>
            <a:r>
              <a:rPr lang="de-DE" sz="1800" b="0" dirty="0"/>
              <a:t>“ mit (nur) „</a:t>
            </a:r>
            <a:r>
              <a:rPr lang="de-DE" sz="1800" dirty="0"/>
              <a:t>unvollendeter Vernunft</a:t>
            </a:r>
            <a:r>
              <a:rPr lang="de-DE" sz="1800" b="0" dirty="0"/>
              <a:t>“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/>
              <a:t>Ziel</a:t>
            </a:r>
            <a:r>
              <a:rPr lang="de-DE" sz="1800" b="0" dirty="0"/>
              <a:t>: Gesellschaft mit </a:t>
            </a:r>
            <a:r>
              <a:rPr lang="de-DE" sz="1800" dirty="0"/>
              <a:t>gleicher Meinungs- Entscheidungsbildung für alle </a:t>
            </a:r>
            <a:r>
              <a:rPr lang="de-DE" sz="1800" dirty="0">
                <a:sym typeface="Wingdings" panose="05000000000000000000" pitchFamily="2" charset="2"/>
              </a:rPr>
              <a:t> </a:t>
            </a:r>
            <a:r>
              <a:rPr lang="de-DE" sz="1800" b="0" dirty="0"/>
              <a:t>Herrscherfreier-Diskurs (Idealbild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Vollendung der Vernunft durch „</a:t>
            </a:r>
            <a:r>
              <a:rPr lang="de-DE" sz="1800" dirty="0"/>
              <a:t>Face-</a:t>
            </a:r>
            <a:r>
              <a:rPr lang="de-DE" sz="1800" dirty="0" err="1"/>
              <a:t>to</a:t>
            </a:r>
            <a:r>
              <a:rPr lang="de-DE" sz="1800" dirty="0"/>
              <a:t>-face Kommunikation</a:t>
            </a:r>
            <a:r>
              <a:rPr lang="de-DE" sz="1800" b="0" dirty="0"/>
              <a:t>“ in kleinen Gemeinschaften 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Kritik: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Wie soll Herrschaftsfreiheit realisiert werden?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stark idealistisch gedach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2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5" name="Grafik 4" descr="Männliches Profil mit einfarbiger Füllung">
            <a:extLst>
              <a:ext uri="{FF2B5EF4-FFF2-40B4-BE49-F238E27FC236}">
                <a16:creationId xmlns:a16="http://schemas.microsoft.com/office/drawing/2014/main" id="{06E08770-493F-491A-77DC-688C93C197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50666" y="-15932"/>
            <a:ext cx="718533" cy="718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186313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Modernisierung Zukunft: Anthony Giddens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5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947" y="895388"/>
            <a:ext cx="8317899" cy="373829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 dirty="0"/>
              <a:t>2) = </a:t>
            </a:r>
            <a:r>
              <a:rPr lang="de-DE" sz="1800" b="0" dirty="0">
                <a:solidFill>
                  <a:schemeClr val="accent2"/>
                </a:solidFill>
              </a:rPr>
              <a:t>Radikalisierung</a:t>
            </a:r>
            <a:r>
              <a:rPr lang="de-DE" sz="1800" b="0" dirty="0"/>
              <a:t> der Modern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/>
              <a:t>Radikalisierung</a:t>
            </a:r>
            <a:r>
              <a:rPr lang="de-DE" sz="1800" b="0" dirty="0"/>
              <a:t> im Zentrum </a:t>
            </a:r>
            <a:r>
              <a:rPr lang="de-DE" sz="1800" b="0" dirty="0">
                <a:sym typeface="Wingdings" panose="05000000000000000000" pitchFamily="2" charset="2"/>
              </a:rPr>
              <a:t> g</a:t>
            </a:r>
            <a:r>
              <a:rPr lang="de-DE" sz="1800" b="0" dirty="0"/>
              <a:t>eht von </a:t>
            </a:r>
            <a:r>
              <a:rPr lang="de-DE" sz="1800" dirty="0"/>
              <a:t>Diskontinuität</a:t>
            </a:r>
            <a:r>
              <a:rPr lang="de-DE" sz="1800" b="0" dirty="0"/>
              <a:t> </a:t>
            </a:r>
            <a:r>
              <a:rPr lang="de-DE" sz="1800" dirty="0"/>
              <a:t>der Moderne </a:t>
            </a:r>
            <a:r>
              <a:rPr lang="de-DE" sz="1800" b="0" dirty="0"/>
              <a:t>aus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Elemente der Diskontinuität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Geschwindigkeit (starke </a:t>
            </a:r>
            <a:r>
              <a:rPr lang="de-DE" sz="1800" dirty="0"/>
              <a:t>Beschleunigungsprozesse</a:t>
            </a:r>
            <a:r>
              <a:rPr lang="de-DE" sz="1800" b="0" dirty="0"/>
              <a:t>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Reichweite (</a:t>
            </a:r>
            <a:r>
              <a:rPr lang="de-DE" sz="1800" dirty="0"/>
              <a:t>räumliche Ausdehnung </a:t>
            </a:r>
            <a:r>
              <a:rPr lang="de-DE" sz="1800" b="0" dirty="0"/>
              <a:t>des </a:t>
            </a:r>
            <a:r>
              <a:rPr lang="de-DE" sz="1800" dirty="0"/>
              <a:t>Moderne</a:t>
            </a:r>
            <a:r>
              <a:rPr lang="de-DE" sz="1800" b="0" dirty="0"/>
              <a:t> über die ganze Welt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Institutionelle Reflexivität (Paradoxon: zunehmendes </a:t>
            </a:r>
            <a:r>
              <a:rPr lang="de-DE" sz="1800" dirty="0"/>
              <a:t>Wissen</a:t>
            </a:r>
            <a:r>
              <a:rPr lang="de-DE" sz="1800" b="0" dirty="0"/>
              <a:t> vs. wachsende </a:t>
            </a:r>
            <a:r>
              <a:rPr lang="de-DE" sz="1800" dirty="0"/>
              <a:t>Unsicherheit</a:t>
            </a:r>
            <a:r>
              <a:rPr lang="de-DE" sz="1800" b="0" dirty="0"/>
              <a:t>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Folge: zukünftig Entstehung einer neuen </a:t>
            </a:r>
            <a:r>
              <a:rPr lang="de-DE" sz="1800" dirty="0"/>
              <a:t>„postmodernen“ Ordnu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Prognose: </a:t>
            </a:r>
            <a:r>
              <a:rPr lang="de-DE" sz="1800" dirty="0"/>
              <a:t>westlich zentrierte </a:t>
            </a:r>
            <a:r>
              <a:rPr lang="de-DE" sz="1800" b="0" dirty="0"/>
              <a:t>Moderne </a:t>
            </a:r>
            <a:r>
              <a:rPr lang="de-DE" sz="1800" dirty="0"/>
              <a:t>verliert</a:t>
            </a:r>
            <a:r>
              <a:rPr lang="de-DE" sz="1800" b="0" dirty="0"/>
              <a:t> an Vorreiterstellu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2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5" name="Grafik 4" descr="Männliches Profil mit einfarbiger Füllung">
            <a:extLst>
              <a:ext uri="{FF2B5EF4-FFF2-40B4-BE49-F238E27FC236}">
                <a16:creationId xmlns:a16="http://schemas.microsoft.com/office/drawing/2014/main" id="{06E08770-493F-491A-77DC-688C93C197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50666" y="-15932"/>
            <a:ext cx="718533" cy="718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731653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Modernisierung: Trend- Ausbreitung der Moderne  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6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947" y="778642"/>
            <a:ext cx="8531053" cy="3738298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Trend= Vielzahl an Modernen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Es gibt kein homogenes Modell von Modernitä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Vielfalt zwischen a) historischen Phasen und b) zwischen Ländern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Beispiel Vielfalt an </a:t>
            </a:r>
            <a:r>
              <a:rPr lang="de-DE" sz="1800" b="0" i="1" dirty="0"/>
              <a:t>Bildungssystemen, Wohlfahrtseinrichtungen, an Kapitalismen</a:t>
            </a:r>
            <a:endParaRPr lang="de-DE" sz="1800" i="1" dirty="0"/>
          </a:p>
          <a:p>
            <a:pPr>
              <a:lnSpc>
                <a:spcPct val="100000"/>
              </a:lnSpc>
            </a:pPr>
            <a:r>
              <a:rPr lang="de-DE" sz="1800" dirty="0">
                <a:sym typeface="Wingdings" panose="05000000000000000000" pitchFamily="2" charset="2"/>
              </a:rPr>
              <a:t>- „</a:t>
            </a: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Multiple </a:t>
            </a:r>
            <a:r>
              <a:rPr lang="de-DE" sz="1800" b="0" dirty="0" err="1">
                <a:solidFill>
                  <a:schemeClr val="accent2"/>
                </a:solidFill>
                <a:sym typeface="Wingdings" panose="05000000000000000000" pitchFamily="2" charset="2"/>
              </a:rPr>
              <a:t>modernities</a:t>
            </a:r>
            <a:r>
              <a:rPr lang="de-DE" sz="1800" dirty="0">
                <a:sym typeface="Wingdings" panose="05000000000000000000" pitchFamily="2" charset="2"/>
              </a:rPr>
              <a:t>“</a:t>
            </a:r>
            <a:r>
              <a:rPr lang="de-DE" sz="1800" dirty="0"/>
              <a:t>  </a:t>
            </a:r>
            <a:r>
              <a:rPr lang="de-DE" sz="1800" dirty="0">
                <a:sym typeface="Wingdings" panose="05000000000000000000" pitchFamily="2" charset="2"/>
              </a:rPr>
              <a:t> Vielzahl von Modernen, </a:t>
            </a:r>
            <a:r>
              <a:rPr lang="de-DE" sz="1800" b="0" strike="sngStrike" dirty="0">
                <a:sym typeface="Wingdings" panose="05000000000000000000" pitchFamily="2" charset="2"/>
              </a:rPr>
              <a:t>nicht die eine Moderne als einheitliche Epoche</a:t>
            </a:r>
            <a:endParaRPr lang="de-DE" sz="18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à"/>
            </a:pPr>
            <a:r>
              <a:rPr lang="de-DE" sz="1800" b="0" dirty="0">
                <a:sym typeface="Wingdings" panose="05000000000000000000" pitchFamily="2" charset="2"/>
              </a:rPr>
              <a:t>„</a:t>
            </a:r>
            <a:r>
              <a:rPr lang="de-DE" sz="1800" b="0" dirty="0" err="1">
                <a:solidFill>
                  <a:schemeClr val="accent2"/>
                </a:solidFill>
                <a:sym typeface="Wingdings" panose="05000000000000000000" pitchFamily="2" charset="2"/>
              </a:rPr>
              <a:t>Entangled</a:t>
            </a:r>
            <a:r>
              <a:rPr lang="de-DE" sz="1800" b="0" dirty="0">
                <a:solidFill>
                  <a:schemeClr val="accent2"/>
                </a:solidFill>
                <a:sym typeface="Wingdings" panose="05000000000000000000" pitchFamily="2" charset="2"/>
              </a:rPr>
              <a:t> </a:t>
            </a:r>
            <a:r>
              <a:rPr lang="de-DE" sz="1800" b="0" dirty="0" err="1">
                <a:solidFill>
                  <a:schemeClr val="accent2"/>
                </a:solidFill>
                <a:sym typeface="Wingdings" panose="05000000000000000000" pitchFamily="2" charset="2"/>
              </a:rPr>
              <a:t>Modernities</a:t>
            </a:r>
            <a:r>
              <a:rPr lang="de-DE" sz="1800" dirty="0">
                <a:sym typeface="Wingdings" panose="05000000000000000000" pitchFamily="2" charset="2"/>
              </a:rPr>
              <a:t>“  </a:t>
            </a:r>
            <a:r>
              <a:rPr lang="de-DE" sz="1800" b="0" dirty="0">
                <a:sym typeface="Wingdings" panose="05000000000000000000" pitchFamily="2" charset="2"/>
              </a:rPr>
              <a:t>Miteinander </a:t>
            </a:r>
            <a:r>
              <a:rPr lang="de-DE" sz="1800" dirty="0">
                <a:sym typeface="Wingdings" panose="05000000000000000000" pitchFamily="2" charset="2"/>
              </a:rPr>
              <a:t>verwobene Formen von Moderne, </a:t>
            </a:r>
            <a:r>
              <a:rPr lang="de-DE" sz="1800" b="0" dirty="0">
                <a:sym typeface="Wingdings" panose="05000000000000000000" pitchFamily="2" charset="2"/>
              </a:rPr>
              <a:t>die aus gemeinsamer Geschichte entstanden</a:t>
            </a:r>
          </a:p>
          <a:p>
            <a:pPr>
              <a:lnSpc>
                <a:spcPct val="100000"/>
              </a:lnSpc>
            </a:pPr>
            <a:r>
              <a:rPr lang="de-DE" sz="1800" b="0" dirty="0">
                <a:sym typeface="Wingdings" panose="05000000000000000000" pitchFamily="2" charset="2"/>
              </a:rPr>
              <a:t>Folgen: Keine Homogenisierung &amp; Westen verliert Monopolstellung</a:t>
            </a:r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</p:spTree>
    <p:extLst>
      <p:ext uri="{BB962C8B-B14F-4D97-AF65-F5344CB8AC3E}">
        <p14:creationId xmlns:p14="http://schemas.microsoft.com/office/powerpoint/2010/main" val="3606880792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67543"/>
            <a:ext cx="7560000" cy="468000"/>
          </a:xfrm>
        </p:spPr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Lernziele</a:t>
            </a:r>
            <a:r>
              <a:rPr lang="de-DE" dirty="0"/>
              <a:t>: siebte Sitzung I VL. (10) und (11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9000544" cy="3366000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b="0" strike="sngStrike" dirty="0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endParaRPr lang="de-DE" sz="1800" b="0" dirty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7</a:t>
            </a:fld>
            <a:r>
              <a:rPr lang="de-DE"/>
              <a:t>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CD78BF-FD21-4273-AC08-8CC747F9071D}"/>
              </a:ext>
            </a:extLst>
          </p:cNvPr>
          <p:cNvSpPr txBox="1"/>
          <p:nvPr/>
        </p:nvSpPr>
        <p:spPr>
          <a:xfrm>
            <a:off x="450000" y="735543"/>
            <a:ext cx="8873410" cy="29495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Was wurde heute erarbeitet…?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Die </a:t>
            </a:r>
            <a:r>
              <a:rPr lang="de-DE" sz="1800" b="1" dirty="0">
                <a:solidFill>
                  <a:schemeClr val="tx2"/>
                </a:solidFill>
              </a:rPr>
              <a:t>vier Perspektive </a:t>
            </a:r>
            <a:r>
              <a:rPr lang="de-DE" sz="1800" dirty="0">
                <a:solidFill>
                  <a:schemeClr val="tx2"/>
                </a:solidFill>
              </a:rPr>
              <a:t>der Moderne nach Deele und Dries (2005) kennen und voneinander abgrenzen + die dazugehörigen </a:t>
            </a:r>
            <a:r>
              <a:rPr lang="de-DE" sz="1800" b="1" dirty="0" err="1">
                <a:solidFill>
                  <a:schemeClr val="tx2"/>
                </a:solidFill>
              </a:rPr>
              <a:t>Ambivaloxe</a:t>
            </a:r>
            <a:endParaRPr lang="de-DE" sz="1800" b="1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endParaRPr lang="de-DE" sz="180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Sie kennen </a:t>
            </a:r>
            <a:r>
              <a:rPr lang="de-DE" sz="1800" b="1" dirty="0">
                <a:solidFill>
                  <a:schemeClr val="tx2"/>
                </a:solidFill>
              </a:rPr>
              <a:t>vier Perspektiven zum Ende/ Neubeginn der Moderne </a:t>
            </a:r>
            <a:r>
              <a:rPr lang="de-DE" sz="1800" dirty="0">
                <a:solidFill>
                  <a:schemeClr val="tx2"/>
                </a:solidFill>
              </a:rPr>
              <a:t>und können diese</a:t>
            </a:r>
            <a:r>
              <a:rPr lang="de-DE" sz="1800" b="1" dirty="0">
                <a:solidFill>
                  <a:schemeClr val="tx2"/>
                </a:solidFill>
              </a:rPr>
              <a:t> voneinander abgrenz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Sie haben Informationen über die Debatte der </a:t>
            </a:r>
            <a:r>
              <a:rPr lang="de-DE" sz="1800" b="1" dirty="0">
                <a:solidFill>
                  <a:schemeClr val="tx2"/>
                </a:solidFill>
              </a:rPr>
              <a:t>Vielfalt der Moderne</a:t>
            </a:r>
            <a:endParaRPr lang="de-DE" sz="18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8972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usblick: nächste Sitzu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8280464" cy="3366000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b="0" strike="sngStrike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endParaRPr lang="de-DE" sz="1800" b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/>
          </a:p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8</a:t>
            </a:fld>
            <a:r>
              <a:rPr lang="de-DE"/>
              <a:t>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CD78BF-FD21-4273-AC08-8CC747F9071D}"/>
              </a:ext>
            </a:extLst>
          </p:cNvPr>
          <p:cNvSpPr txBox="1"/>
          <p:nvPr/>
        </p:nvSpPr>
        <p:spPr>
          <a:xfrm>
            <a:off x="537190" y="1059582"/>
            <a:ext cx="7995250" cy="1703030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Was kommt…?</a:t>
            </a:r>
          </a:p>
          <a:p>
            <a:pPr>
              <a:lnSpc>
                <a:spcPct val="150000"/>
              </a:lnSpc>
            </a:pPr>
            <a:endParaRPr lang="de-DE" sz="180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</a:rPr>
              <a:t>Fortsetzung Perspektiven der </a:t>
            </a:r>
            <a:r>
              <a:rPr lang="de-DE" sz="1800" b="1" dirty="0">
                <a:solidFill>
                  <a:schemeClr val="tx2"/>
                </a:solidFill>
              </a:rPr>
              <a:t>Gesellschaftstypen</a:t>
            </a:r>
            <a:r>
              <a:rPr lang="de-DE" sz="1800" dirty="0">
                <a:solidFill>
                  <a:schemeClr val="tx2"/>
                </a:solidFill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                                                          </a:t>
            </a:r>
            <a:endParaRPr lang="de-DE" sz="18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96903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usblick: nächste Sitzu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73E2-E479-4B85-B011-875D0EA60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18000"/>
            <a:ext cx="8280464" cy="3366000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de-DE" sz="1800" b="0" strike="sngStrike" dirty="0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endParaRPr lang="de-DE" sz="1800" b="0" dirty="0">
              <a:sym typeface="Wingdings" panose="05000000000000000000" pitchFamily="2" charset="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b="0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utorien Sozialstruktur und sozialer Wandel | stina.</a:t>
            </a:r>
            <a:r>
              <a:rPr lang="de-DE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9</a:t>
            </a:fld>
            <a:r>
              <a:rPr lang="de-DE"/>
              <a:t>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CD78BF-FD21-4273-AC08-8CC747F9071D}"/>
              </a:ext>
            </a:extLst>
          </p:cNvPr>
          <p:cNvSpPr txBox="1"/>
          <p:nvPr/>
        </p:nvSpPr>
        <p:spPr>
          <a:xfrm>
            <a:off x="537190" y="1059582"/>
            <a:ext cx="7995250" cy="1287532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Anhang</a:t>
            </a:r>
          </a:p>
          <a:p>
            <a:pPr>
              <a:lnSpc>
                <a:spcPct val="150000"/>
              </a:lnSpc>
            </a:pPr>
            <a:r>
              <a:rPr lang="de-DE" sz="1800" b="1" dirty="0">
                <a:solidFill>
                  <a:schemeClr val="tx2"/>
                </a:solidFill>
              </a:rPr>
              <a:t> </a:t>
            </a:r>
            <a:r>
              <a:rPr lang="de-DE" sz="1800" dirty="0">
                <a:solidFill>
                  <a:schemeClr val="tx2"/>
                </a:solidFill>
              </a:rPr>
              <a:t>………………weitere Theorie </a:t>
            </a:r>
          </a:p>
          <a:p>
            <a:pPr>
              <a:lnSpc>
                <a:spcPct val="150000"/>
              </a:lnSpc>
            </a:pPr>
            <a:r>
              <a:rPr lang="de-DE" sz="1800" dirty="0">
                <a:solidFill>
                  <a:schemeClr val="tx2"/>
                </a:solidFill>
              </a:rPr>
              <a:t>                                                          </a:t>
            </a:r>
            <a:endParaRPr lang="de-DE" sz="18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545321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 Modernisierung: Das Acht-Faktoren-Modell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360" y="830492"/>
            <a:ext cx="8676640" cy="4029508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/>
              <a:t>Erweiterung</a:t>
            </a:r>
            <a:r>
              <a:rPr lang="de-DE" sz="1800" b="0" dirty="0"/>
              <a:t> des vier Perspektiven Modells um </a:t>
            </a:r>
            <a:r>
              <a:rPr lang="de-DE" sz="1800" dirty="0"/>
              <a:t>vier weitere Perspektiven</a:t>
            </a:r>
          </a:p>
          <a:p>
            <a:pPr>
              <a:lnSpc>
                <a:spcPct val="100000"/>
              </a:lnSpc>
            </a:pPr>
            <a:r>
              <a:rPr lang="de-DE" sz="1200" b="0" dirty="0"/>
              <a:t>Zur Erinnerung                            </a:t>
            </a:r>
            <a:r>
              <a:rPr lang="de-DE" sz="1800" b="0" dirty="0"/>
              <a:t>Nun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200" b="0" dirty="0"/>
          </a:p>
          <a:p>
            <a:pPr>
              <a:lnSpc>
                <a:spcPct val="100000"/>
              </a:lnSpc>
            </a:pPr>
            <a:endParaRPr lang="de-DE" sz="1200" b="0" dirty="0"/>
          </a:p>
          <a:p>
            <a:pPr>
              <a:lnSpc>
                <a:spcPct val="100000"/>
              </a:lnSpc>
            </a:pPr>
            <a:endParaRPr lang="de-DE" sz="1200" b="0" dirty="0"/>
          </a:p>
          <a:p>
            <a:pPr>
              <a:lnSpc>
                <a:spcPct val="100000"/>
              </a:lnSpc>
            </a:pPr>
            <a:r>
              <a:rPr lang="de-DE" altLang="de-DE" sz="1200" b="0" dirty="0">
                <a:cs typeface="Arial" panose="020B0604020202020204" pitchFamily="34" charset="0"/>
              </a:rPr>
              <a:t>van der Loo &amp; van </a:t>
            </a:r>
            <a:r>
              <a:rPr lang="de-DE" altLang="de-DE" sz="1200" b="0" dirty="0" err="1">
                <a:cs typeface="Arial" panose="020B0604020202020204" pitchFamily="34" charset="0"/>
              </a:rPr>
              <a:t>Reijen</a:t>
            </a:r>
            <a:r>
              <a:rPr lang="de-DE" altLang="de-DE" sz="1200" b="0" dirty="0">
                <a:cs typeface="Arial" panose="020B0604020202020204" pitchFamily="34" charset="0"/>
              </a:rPr>
              <a:t> (1997)</a:t>
            </a:r>
          </a:p>
          <a:p>
            <a:pPr>
              <a:lnSpc>
                <a:spcPct val="100000"/>
              </a:lnSpc>
            </a:pPr>
            <a:endParaRPr lang="de-DE" altLang="de-DE" sz="1200" b="0" dirty="0"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lang="de-DE" altLang="de-DE" sz="1200" b="0" dirty="0"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lang="de-DE" altLang="de-DE" sz="1200" b="0" dirty="0"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de-DE" altLang="de-DE" sz="1200" b="0" dirty="0">
                <a:cs typeface="Arial" panose="020B0604020202020204" pitchFamily="34" charset="0"/>
              </a:rPr>
              <a:t>                                                                                                                                 </a:t>
            </a:r>
            <a:r>
              <a:rPr lang="de-DE" altLang="de-DE" sz="1200" b="0" dirty="0" err="1">
                <a:cs typeface="Arial" panose="020B0604020202020204" pitchFamily="34" charset="0"/>
              </a:rPr>
              <a:t>Degele</a:t>
            </a:r>
            <a:r>
              <a:rPr lang="de-DE" altLang="de-DE" sz="1200" b="0" dirty="0">
                <a:cs typeface="Arial" panose="020B0604020202020204" pitchFamily="34" charset="0"/>
              </a:rPr>
              <a:t> &amp; Dries (2005)</a:t>
            </a:r>
            <a:br>
              <a:rPr lang="de-DE" sz="1200" b="1" dirty="0"/>
            </a:br>
            <a:endParaRPr lang="de-DE" sz="1200" b="0" dirty="0"/>
          </a:p>
          <a:p>
            <a:pPr>
              <a:lnSpc>
                <a:spcPct val="100000"/>
              </a:lnSpc>
            </a:pPr>
            <a:endParaRPr lang="de-DE" sz="1800" b="0" i="1" dirty="0"/>
          </a:p>
          <a:p>
            <a:pPr>
              <a:lnSpc>
                <a:spcPct val="100000"/>
              </a:lnSpc>
            </a:pPr>
            <a:endParaRPr lang="de-DE" sz="1800" b="0" i="1" dirty="0"/>
          </a:p>
          <a:p>
            <a:pPr>
              <a:lnSpc>
                <a:spcPct val="100000"/>
              </a:lnSpc>
            </a:pPr>
            <a:endParaRPr lang="de-DE" sz="1800" b="0" i="1" dirty="0"/>
          </a:p>
          <a:p>
            <a:pPr>
              <a:lnSpc>
                <a:spcPct val="100000"/>
              </a:lnSpc>
            </a:pPr>
            <a:endParaRPr lang="de-DE" sz="1800" b="0" i="1" dirty="0"/>
          </a:p>
          <a:p>
            <a:pPr>
              <a:lnSpc>
                <a:spcPct val="100000"/>
              </a:lnSpc>
            </a:pPr>
            <a:endParaRPr lang="de-DE" sz="1800" b="0" i="1" dirty="0"/>
          </a:p>
          <a:p>
            <a:pPr>
              <a:lnSpc>
                <a:spcPct val="100000"/>
              </a:lnSpc>
            </a:pPr>
            <a:endParaRPr lang="de-DE" sz="1800" b="0" i="1" dirty="0"/>
          </a:p>
          <a:p>
            <a:pPr>
              <a:lnSpc>
                <a:spcPct val="100000"/>
              </a:lnSpc>
            </a:pPr>
            <a:r>
              <a:rPr lang="de-DE" sz="1800" b="0" i="1" dirty="0"/>
              <a:t>                                                                                    </a:t>
            </a:r>
            <a:r>
              <a:rPr lang="de-DE" altLang="de-DE" sz="1200" b="0" dirty="0" err="1">
                <a:cs typeface="Arial" panose="020B0604020202020204" pitchFamily="34" charset="0"/>
              </a:rPr>
              <a:t>Degele</a:t>
            </a:r>
            <a:r>
              <a:rPr lang="de-DE" altLang="de-DE" sz="1200" b="0" dirty="0">
                <a:cs typeface="Arial" panose="020B0604020202020204" pitchFamily="34" charset="0"/>
              </a:rPr>
              <a:t> &amp; Dries (2005)</a:t>
            </a:r>
            <a:endParaRPr lang="de-DE" sz="1800" b="0" i="1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DE60D61-39B0-AF03-2566-8CF5EDACD8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0018" y="1423403"/>
            <a:ext cx="2783963" cy="2735686"/>
          </a:xfrm>
          <a:prstGeom prst="rect">
            <a:avLst/>
          </a:prstGeom>
        </p:spPr>
      </p:pic>
      <p:pic>
        <p:nvPicPr>
          <p:cNvPr id="11" name="Grafik 10" descr="Marke 1 mit einfarbiger Füllung">
            <a:extLst>
              <a:ext uri="{FF2B5EF4-FFF2-40B4-BE49-F238E27FC236}">
                <a16:creationId xmlns:a16="http://schemas.microsoft.com/office/drawing/2014/main" id="{DBD8417F-D73E-8ECA-FA61-B08A977C01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58463" y="4065914"/>
            <a:ext cx="543849" cy="543849"/>
          </a:xfrm>
          <a:prstGeom prst="rect">
            <a:avLst/>
          </a:prstGeom>
        </p:spPr>
      </p:pic>
      <p:pic>
        <p:nvPicPr>
          <p:cNvPr id="16" name="Grafik 15" descr="Abzeichen mit einfarbiger Füllung">
            <a:extLst>
              <a:ext uri="{FF2B5EF4-FFF2-40B4-BE49-F238E27FC236}">
                <a16:creationId xmlns:a16="http://schemas.microsoft.com/office/drawing/2014/main" id="{E984C7D3-673F-892E-271C-BF096AFEEED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07668" y="1030442"/>
            <a:ext cx="543853" cy="543853"/>
          </a:xfrm>
          <a:prstGeom prst="rect">
            <a:avLst/>
          </a:prstGeom>
        </p:spPr>
      </p:pic>
      <p:pic>
        <p:nvPicPr>
          <p:cNvPr id="18" name="Grafik 17" descr="Marke 3 mit einfarbiger Füllung">
            <a:extLst>
              <a:ext uri="{FF2B5EF4-FFF2-40B4-BE49-F238E27FC236}">
                <a16:creationId xmlns:a16="http://schemas.microsoft.com/office/drawing/2014/main" id="{A83B4A4C-3676-388B-5EDF-6AC4AA0E851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07895" y="2454535"/>
            <a:ext cx="558800" cy="558800"/>
          </a:xfrm>
          <a:prstGeom prst="rect">
            <a:avLst/>
          </a:prstGeom>
        </p:spPr>
      </p:pic>
      <p:pic>
        <p:nvPicPr>
          <p:cNvPr id="20" name="Grafik 19" descr="Marke 4 mit einfarbiger Füllung">
            <a:extLst>
              <a:ext uri="{FF2B5EF4-FFF2-40B4-BE49-F238E27FC236}">
                <a16:creationId xmlns:a16="http://schemas.microsoft.com/office/drawing/2014/main" id="{0611D04B-2713-D0CC-3510-DD32D8B41CC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82514" y="2454535"/>
            <a:ext cx="558800" cy="558800"/>
          </a:xfrm>
          <a:prstGeom prst="rect">
            <a:avLst/>
          </a:prstGeom>
        </p:spPr>
      </p:pic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564E7BE5-93E7-9856-5FE0-A2FFEAE1428E}"/>
              </a:ext>
            </a:extLst>
          </p:cNvPr>
          <p:cNvCxnSpPr/>
          <p:nvPr/>
        </p:nvCxnSpPr>
        <p:spPr>
          <a:xfrm>
            <a:off x="3413888" y="1279949"/>
            <a:ext cx="832992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13F68496-CC49-9D3E-EBBB-C7BE4D0BB146}"/>
              </a:ext>
            </a:extLst>
          </p:cNvPr>
          <p:cNvCxnSpPr/>
          <p:nvPr/>
        </p:nvCxnSpPr>
        <p:spPr>
          <a:xfrm>
            <a:off x="3402896" y="4329146"/>
            <a:ext cx="832992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>
            <a:extLst>
              <a:ext uri="{FF2B5EF4-FFF2-40B4-BE49-F238E27FC236}">
                <a16:creationId xmlns:a16="http://schemas.microsoft.com/office/drawing/2014/main" id="{2D178592-7518-F812-9CD0-C088C2CC6B5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3910" y="1501950"/>
            <a:ext cx="1754953" cy="106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98458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Modernisierung Zukunft: Ulrich Beck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0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947" y="895388"/>
            <a:ext cx="8317899" cy="373829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 dirty="0"/>
              <a:t>3) = </a:t>
            </a:r>
            <a:r>
              <a:rPr lang="de-DE" sz="1800" b="0" dirty="0">
                <a:solidFill>
                  <a:schemeClr val="accent2"/>
                </a:solidFill>
              </a:rPr>
              <a:t>Reflexive</a:t>
            </a:r>
            <a:r>
              <a:rPr lang="de-DE" sz="1800" b="0" dirty="0"/>
              <a:t> Modernisieru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Erleben </a:t>
            </a:r>
            <a:r>
              <a:rPr lang="de-DE" sz="1800" dirty="0"/>
              <a:t>historischen Gesellschaftswandel innerhalb </a:t>
            </a:r>
            <a:r>
              <a:rPr lang="de-DE" sz="1800" b="0" dirty="0"/>
              <a:t>der Moderne (keine neue Epoche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Differenziert zwischen zwei Phasen 1) </a:t>
            </a:r>
            <a:r>
              <a:rPr lang="de-DE" sz="1800" dirty="0"/>
              <a:t>erste (=einfache) </a:t>
            </a:r>
            <a:r>
              <a:rPr lang="de-DE" sz="1800" b="0" dirty="0"/>
              <a:t>und 2)</a:t>
            </a:r>
            <a:r>
              <a:rPr lang="de-DE" sz="1800" dirty="0"/>
              <a:t> zweiten (=reflexiven) Modern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Einfache Moderne= </a:t>
            </a:r>
            <a:r>
              <a:rPr lang="de-DE" sz="1800" dirty="0"/>
              <a:t>„Entweder- oder“ </a:t>
            </a:r>
            <a:r>
              <a:rPr lang="de-DE" sz="1800" b="0" dirty="0"/>
              <a:t>Entwicklungen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Reflexive Moderne= </a:t>
            </a:r>
            <a:r>
              <a:rPr lang="de-DE" sz="1800" dirty="0"/>
              <a:t>„Sowohl als auch</a:t>
            </a:r>
            <a:r>
              <a:rPr lang="de-DE" sz="1800" b="0" dirty="0"/>
              <a:t>“ Prozesse </a:t>
            </a:r>
            <a:r>
              <a:rPr lang="de-DE" sz="1800" b="0" dirty="0">
                <a:sym typeface="Wingdings" panose="05000000000000000000" pitchFamily="2" charset="2"/>
              </a:rPr>
              <a:t> </a:t>
            </a:r>
            <a:r>
              <a:rPr lang="de-DE" sz="1800" b="0" dirty="0"/>
              <a:t>Vielgestaltigkei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                         = Modernisierungsphänomene </a:t>
            </a:r>
            <a:r>
              <a:rPr lang="de-DE" sz="1800" b="0" strike="sngStrike" dirty="0"/>
              <a:t>eher Vernunftgeleitet</a:t>
            </a:r>
            <a:r>
              <a:rPr lang="de-DE" sz="1800" b="0" dirty="0"/>
              <a:t>, eher </a:t>
            </a:r>
            <a:r>
              <a:rPr lang="de-DE" sz="1800" dirty="0"/>
              <a:t>ungesteuerte Prozesse</a:t>
            </a:r>
            <a:r>
              <a:rPr lang="de-DE" sz="1800" b="0" dirty="0"/>
              <a:t>, wirkt </a:t>
            </a:r>
            <a:r>
              <a:rPr lang="de-DE" sz="1800" dirty="0"/>
              <a:t>radikalisierend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2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5" name="Grafik 4" descr="Männliches Profil mit einfarbiger Füllung">
            <a:extLst>
              <a:ext uri="{FF2B5EF4-FFF2-40B4-BE49-F238E27FC236}">
                <a16:creationId xmlns:a16="http://schemas.microsoft.com/office/drawing/2014/main" id="{06E08770-493F-491A-77DC-688C93C197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50666" y="-15932"/>
            <a:ext cx="718533" cy="718533"/>
          </a:xfrm>
          <a:prstGeom prst="rect">
            <a:avLst/>
          </a:prstGeom>
        </p:spPr>
      </p:pic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BCBE900C-C844-EAC9-AE4D-5DB90CC6ABFF}"/>
              </a:ext>
            </a:extLst>
          </p:cNvPr>
          <p:cNvSpPr/>
          <p:nvPr/>
        </p:nvSpPr>
        <p:spPr>
          <a:xfrm>
            <a:off x="928916" y="3556000"/>
            <a:ext cx="1451428" cy="362857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Reflexivität</a:t>
            </a:r>
          </a:p>
        </p:txBody>
      </p:sp>
    </p:spTree>
    <p:extLst>
      <p:ext uri="{BB962C8B-B14F-4D97-AF65-F5344CB8AC3E}">
        <p14:creationId xmlns:p14="http://schemas.microsoft.com/office/powerpoint/2010/main" val="124511200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Modernisierung Zukunft: ohne speziellen Autor 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1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947" y="895388"/>
            <a:ext cx="8317899" cy="373829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800" b="0" dirty="0"/>
              <a:t>4) = </a:t>
            </a:r>
            <a:r>
              <a:rPr lang="de-DE" sz="1800" b="0" dirty="0">
                <a:solidFill>
                  <a:schemeClr val="accent2"/>
                </a:solidFill>
              </a:rPr>
              <a:t>Postmodernisieru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Strömung, die ein </a:t>
            </a:r>
            <a:r>
              <a:rPr lang="de-DE" sz="1800" dirty="0"/>
              <a:t>neues Zeitalter </a:t>
            </a:r>
            <a:r>
              <a:rPr lang="de-DE" sz="1800" b="0" dirty="0"/>
              <a:t>behauptet (</a:t>
            </a:r>
            <a:r>
              <a:rPr lang="de-DE" sz="1800" b="0" strike="sngStrike" dirty="0"/>
              <a:t>Moderne</a:t>
            </a:r>
            <a:r>
              <a:rPr lang="de-DE" sz="1800" b="0" dirty="0"/>
              <a:t>) 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Zwei Elemente</a:t>
            </a:r>
          </a:p>
          <a:p>
            <a:pPr marL="342900" indent="-342900">
              <a:lnSpc>
                <a:spcPct val="100000"/>
              </a:lnSpc>
              <a:buAutoNum type="arabicParenR"/>
            </a:pPr>
            <a:r>
              <a:rPr lang="de-DE" sz="1800" dirty="0"/>
              <a:t>Denken / Weltanschauung </a:t>
            </a:r>
            <a:r>
              <a:rPr lang="de-DE" sz="1800" b="0" dirty="0"/>
              <a:t>(Gekennzeichnet durch </a:t>
            </a:r>
            <a:r>
              <a:rPr lang="de-DE" sz="1800" dirty="0"/>
              <a:t>Vielfalt</a:t>
            </a:r>
            <a:r>
              <a:rPr lang="de-DE" sz="1800" b="0" dirty="0"/>
              <a:t> an </a:t>
            </a:r>
            <a:r>
              <a:rPr lang="de-DE" sz="1800" dirty="0"/>
              <a:t>Perspektiven</a:t>
            </a:r>
            <a:r>
              <a:rPr lang="de-DE" sz="1800" b="0" dirty="0"/>
              <a:t> &amp; Meinungen vs. gleichzeitiger </a:t>
            </a:r>
            <a:r>
              <a:rPr lang="de-DE" sz="1800" dirty="0"/>
              <a:t>Unsicherheit</a:t>
            </a:r>
            <a:r>
              <a:rPr lang="de-DE" sz="1800" b="0" dirty="0"/>
              <a:t> durch </a:t>
            </a:r>
            <a:r>
              <a:rPr lang="de-DE" sz="1800" dirty="0"/>
              <a:t>fehlende feste Werte</a:t>
            </a:r>
            <a:r>
              <a:rPr lang="de-DE" sz="1800" b="0" dirty="0"/>
              <a:t>)</a:t>
            </a:r>
          </a:p>
          <a:p>
            <a:pPr marL="342900" indent="-342900">
              <a:lnSpc>
                <a:spcPct val="100000"/>
              </a:lnSpc>
              <a:buAutoNum type="arabicParenR"/>
            </a:pPr>
            <a:r>
              <a:rPr lang="de-DE" sz="1800" dirty="0"/>
              <a:t>Lebensführung</a:t>
            </a:r>
            <a:r>
              <a:rPr lang="de-DE" sz="1800" b="0" dirty="0"/>
              <a:t> (</a:t>
            </a:r>
            <a:r>
              <a:rPr lang="de-DE" sz="1800" dirty="0"/>
              <a:t>Pluralisierung</a:t>
            </a:r>
            <a:r>
              <a:rPr lang="de-DE" sz="1800" b="0" dirty="0"/>
              <a:t> der Lebensführung)</a:t>
            </a:r>
          </a:p>
          <a:p>
            <a:pPr algn="ctr">
              <a:lnSpc>
                <a:spcPct val="100000"/>
              </a:lnSpc>
            </a:pPr>
            <a:r>
              <a:rPr lang="de-DE" sz="1800" b="0" dirty="0"/>
              <a:t>„</a:t>
            </a:r>
            <a:r>
              <a:rPr lang="de-DE" sz="1800" b="0" dirty="0" err="1"/>
              <a:t>Anything</a:t>
            </a:r>
            <a:r>
              <a:rPr lang="de-DE" sz="1800" b="0" dirty="0"/>
              <a:t> </a:t>
            </a:r>
            <a:r>
              <a:rPr lang="de-DE" sz="1800" b="0" dirty="0" err="1"/>
              <a:t>goes</a:t>
            </a:r>
            <a:r>
              <a:rPr lang="de-DE" sz="1800" b="0" dirty="0"/>
              <a:t>“</a:t>
            </a:r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5" name="Grafik 4" descr="Männliches Profil mit einfarbiger Füllung">
            <a:extLst>
              <a:ext uri="{FF2B5EF4-FFF2-40B4-BE49-F238E27FC236}">
                <a16:creationId xmlns:a16="http://schemas.microsoft.com/office/drawing/2014/main" id="{06E08770-493F-491A-77DC-688C93C197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20000" y="952"/>
            <a:ext cx="718533" cy="718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071567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067" y="961705"/>
            <a:ext cx="6722533" cy="2057561"/>
          </a:xfrm>
        </p:spPr>
        <p:txBody>
          <a:bodyPr/>
          <a:lstStyle/>
          <a:p>
            <a:r>
              <a:rPr lang="de-DE" dirty="0"/>
              <a:t>Modernisierung:</a:t>
            </a:r>
            <a:br>
              <a:rPr lang="de-DE" dirty="0"/>
            </a:br>
            <a:r>
              <a:rPr lang="de-DE" dirty="0"/>
              <a:t>(Erweiterung)</a:t>
            </a:r>
            <a:br>
              <a:rPr lang="de-DE" dirty="0"/>
            </a:br>
            <a:br>
              <a:rPr lang="de-DE" b="1" dirty="0"/>
            </a:br>
            <a:r>
              <a:rPr lang="de-DE" dirty="0"/>
              <a:t>I: Beschleunigung</a:t>
            </a:r>
            <a:br>
              <a:rPr lang="de-DE" dirty="0"/>
            </a:br>
            <a:r>
              <a:rPr lang="de-DE" dirty="0"/>
              <a:t>II: Globalisierung</a:t>
            </a:r>
            <a:br>
              <a:rPr lang="de-DE" b="1" dirty="0"/>
            </a:br>
            <a:r>
              <a:rPr lang="de-DE" b="1" dirty="0"/>
              <a:t>III: </a:t>
            </a:r>
            <a:r>
              <a:rPr lang="de-DE" b="1" dirty="0">
                <a:solidFill>
                  <a:schemeClr val="accent2"/>
                </a:solidFill>
              </a:rPr>
              <a:t>Integration</a:t>
            </a:r>
            <a:br>
              <a:rPr lang="de-DE" b="1" dirty="0"/>
            </a:br>
            <a:r>
              <a:rPr lang="de-DE" b="1" dirty="0"/>
              <a:t>IIII: </a:t>
            </a:r>
            <a:r>
              <a:rPr lang="de-DE" b="1" dirty="0" err="1"/>
              <a:t>Vergeschlechtlichung</a:t>
            </a:r>
            <a:br>
              <a:rPr lang="de-DE" b="1" dirty="0"/>
            </a:br>
            <a:r>
              <a:rPr lang="de-DE" b="1" dirty="0"/>
              <a:t>                                                  </a:t>
            </a:r>
            <a:r>
              <a:rPr lang="de-DE" sz="1200" dirty="0" err="1"/>
              <a:t>Degele</a:t>
            </a:r>
            <a:r>
              <a:rPr lang="de-DE" sz="1200" dirty="0"/>
              <a:t> &amp; Dries (2005)</a:t>
            </a:r>
            <a:br>
              <a:rPr lang="de-DE" sz="2800" b="0" dirty="0"/>
            </a:br>
            <a:br>
              <a:rPr lang="de-DE" b="1" dirty="0"/>
            </a:br>
            <a:br>
              <a:rPr lang="de-DE" b="1" dirty="0"/>
            </a:br>
            <a:endParaRPr lang="de-DE" b="1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3</a:t>
            </a:fld>
            <a:r>
              <a:rPr lang="de-DE"/>
              <a:t> 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41C8BD3-2FC8-881A-388E-B58A609FDC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84178" y="793483"/>
            <a:ext cx="2783963" cy="2735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9028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Modernisierung: 3) Integration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4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830492"/>
            <a:ext cx="8794800" cy="4029508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(</a:t>
            </a:r>
            <a:r>
              <a:rPr lang="de-DE" sz="1800" b="0" dirty="0" err="1"/>
              <a:t>Un</a:t>
            </a:r>
            <a:r>
              <a:rPr lang="de-DE" sz="1800" b="0" dirty="0"/>
              <a:t>-)Möglichkeit der Integration als zentrales Kontrollproblem moderner Gesellschaften</a:t>
            </a:r>
          </a:p>
          <a:p>
            <a:pPr>
              <a:lnSpc>
                <a:spcPct val="100000"/>
              </a:lnSpc>
            </a:pPr>
            <a:r>
              <a:rPr lang="de-DE" sz="1800" b="0" dirty="0">
                <a:highlight>
                  <a:srgbClr val="FFFF00"/>
                </a:highlight>
              </a:rPr>
              <a:t>DEF</a:t>
            </a:r>
            <a:r>
              <a:rPr lang="de-DE" sz="1800" b="0" dirty="0"/>
              <a:t> Integration: „Ist ein vor allem über </a:t>
            </a:r>
            <a:r>
              <a:rPr lang="de-DE" sz="1800" dirty="0"/>
              <a:t>systematische Zusammenhänge von Teilen </a:t>
            </a:r>
            <a:r>
              <a:rPr lang="de-DE" sz="1800" b="0" dirty="0"/>
              <a:t>(Individuen oder soziale Einheiten), </a:t>
            </a:r>
            <a:r>
              <a:rPr lang="de-DE" sz="1800" dirty="0"/>
              <a:t>zu einem irgendwie harmonisierenden Ganzen </a:t>
            </a:r>
            <a:r>
              <a:rPr lang="de-DE" sz="1800" b="0" dirty="0"/>
              <a:t>[…], eine qualitativ bestimmte </a:t>
            </a:r>
            <a:r>
              <a:rPr lang="de-DE" sz="1800" dirty="0"/>
              <a:t>Form von Ordnung </a:t>
            </a:r>
            <a:r>
              <a:rPr lang="de-DE" sz="1800" b="0" dirty="0"/>
              <a:t>oder Strukturiertheit oder </a:t>
            </a:r>
            <a:r>
              <a:rPr lang="de-DE" sz="1800" dirty="0"/>
              <a:t>gemeinsamer Sinnbildung </a:t>
            </a:r>
            <a:r>
              <a:rPr lang="de-DE" sz="1800" b="0" dirty="0"/>
              <a:t>[…]“ </a:t>
            </a:r>
            <a:r>
              <a:rPr lang="de-DE" sz="1200" b="0" dirty="0" err="1"/>
              <a:t>Degele</a:t>
            </a:r>
            <a:r>
              <a:rPr lang="de-DE" sz="1200" b="0" dirty="0"/>
              <a:t> &amp; Dries (2005)</a:t>
            </a:r>
            <a:endParaRPr lang="de-DE" sz="1800" b="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</p:spTree>
    <p:extLst>
      <p:ext uri="{BB962C8B-B14F-4D97-AF65-F5344CB8AC3E}">
        <p14:creationId xmlns:p14="http://schemas.microsoft.com/office/powerpoint/2010/main" val="3801932027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3) Integration: I Theorie: Niklas Luhmann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5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000" y="952029"/>
            <a:ext cx="8317899" cy="3738298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/>
              <a:t>Systemtheoretisch</a:t>
            </a:r>
            <a:r>
              <a:rPr lang="de-DE" sz="1800" b="0" dirty="0"/>
              <a:t>e Theorie (</a:t>
            </a:r>
            <a:r>
              <a:rPr lang="de-DE" sz="1800" dirty="0"/>
              <a:t>Gesellschaft =</a:t>
            </a:r>
            <a:r>
              <a:rPr lang="de-DE" sz="1800" b="0" dirty="0"/>
              <a:t> besteht aus </a:t>
            </a:r>
            <a:r>
              <a:rPr lang="de-DE" sz="1800" dirty="0"/>
              <a:t>Teilsystemen</a:t>
            </a:r>
            <a:r>
              <a:rPr lang="de-DE" sz="1800" b="0" dirty="0"/>
              <a:t>)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Ziel = </a:t>
            </a:r>
            <a:r>
              <a:rPr lang="de-DE" sz="1800" dirty="0"/>
              <a:t>Vermeidung  von Problemen </a:t>
            </a:r>
            <a:r>
              <a:rPr lang="de-DE" sz="1800" b="0" dirty="0"/>
              <a:t>zwischen Teilsystemen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Vermeidung von was? Vermeidung, dass Operationen im Teilsystem A zu Problemen in Teilsystem B führen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/>
              <a:t>Integration</a:t>
            </a:r>
            <a:r>
              <a:rPr lang="de-DE" sz="1800" b="0" dirty="0"/>
              <a:t> = </a:t>
            </a:r>
            <a:r>
              <a:rPr lang="de-DE" sz="1800" dirty="0"/>
              <a:t>Wechselseitige Einschränkung &amp;</a:t>
            </a:r>
            <a:r>
              <a:rPr lang="de-DE" sz="1800" b="0" dirty="0"/>
              <a:t> </a:t>
            </a:r>
            <a:r>
              <a:rPr lang="de-DE" sz="1800" dirty="0"/>
              <a:t>Justierung</a:t>
            </a:r>
            <a:r>
              <a:rPr lang="de-DE" sz="1800" b="0" dirty="0"/>
              <a:t> </a:t>
            </a:r>
            <a:r>
              <a:rPr lang="de-DE" sz="1800" dirty="0"/>
              <a:t>der</a:t>
            </a:r>
            <a:r>
              <a:rPr lang="de-DE" sz="1800" b="0" dirty="0"/>
              <a:t> Freiheitsgerade von den </a:t>
            </a:r>
            <a:r>
              <a:rPr lang="de-DE" sz="1800" dirty="0"/>
              <a:t>Teilsystemen</a:t>
            </a:r>
            <a:r>
              <a:rPr lang="de-DE" sz="1800" b="0" dirty="0"/>
              <a:t>  </a:t>
            </a:r>
            <a:r>
              <a:rPr lang="de-DE" sz="1800" b="0" dirty="0">
                <a:sym typeface="Wingdings" panose="05000000000000000000" pitchFamily="2" charset="2"/>
              </a:rPr>
              <a:t> </a:t>
            </a:r>
            <a:r>
              <a:rPr lang="de-DE" sz="1800" b="0" dirty="0"/>
              <a:t>Teilsysteme spalten sich (nur) so weit ab, dass sie noch zum zu großem Ganzen gehören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Oft die Rede von </a:t>
            </a:r>
            <a:r>
              <a:rPr lang="de-DE" sz="1800" dirty="0"/>
              <a:t>Inklusion</a:t>
            </a:r>
            <a:r>
              <a:rPr lang="de-DE" sz="1800" b="0" dirty="0"/>
              <a:t> = </a:t>
            </a:r>
            <a:r>
              <a:rPr lang="de-DE" sz="1800" dirty="0"/>
              <a:t>gleichzeitige Zugehörigkeit </a:t>
            </a:r>
            <a:r>
              <a:rPr lang="de-DE" sz="1800" b="0" dirty="0"/>
              <a:t>zu mehreren Teilsystemen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2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5" name="Grafik 4" descr="Männliches Profil mit einfarbiger Füllung">
            <a:extLst>
              <a:ext uri="{FF2B5EF4-FFF2-40B4-BE49-F238E27FC236}">
                <a16:creationId xmlns:a16="http://schemas.microsoft.com/office/drawing/2014/main" id="{06E08770-493F-491A-77DC-688C93C197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50666" y="-15932"/>
            <a:ext cx="718533" cy="718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756669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E55A0-73B3-4565-BA58-ACE5F642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067" y="961705"/>
            <a:ext cx="6722533" cy="2057561"/>
          </a:xfrm>
        </p:spPr>
        <p:txBody>
          <a:bodyPr/>
          <a:lstStyle/>
          <a:p>
            <a:r>
              <a:rPr lang="de-DE" dirty="0"/>
              <a:t>Modernisierung:</a:t>
            </a:r>
            <a:br>
              <a:rPr lang="de-DE" dirty="0"/>
            </a:br>
            <a:r>
              <a:rPr lang="de-DE" dirty="0"/>
              <a:t>(Erweiterung)</a:t>
            </a:r>
            <a:br>
              <a:rPr lang="de-DE" dirty="0"/>
            </a:br>
            <a:br>
              <a:rPr lang="de-DE" b="1" dirty="0"/>
            </a:br>
            <a:r>
              <a:rPr lang="de-DE" dirty="0"/>
              <a:t>I: Beschleunigung</a:t>
            </a:r>
            <a:br>
              <a:rPr lang="de-DE" dirty="0"/>
            </a:br>
            <a:r>
              <a:rPr lang="de-DE" dirty="0"/>
              <a:t>II: Globalisierung</a:t>
            </a:r>
            <a:br>
              <a:rPr lang="de-DE" b="1" dirty="0"/>
            </a:br>
            <a:r>
              <a:rPr lang="de-DE" b="1" dirty="0"/>
              <a:t>III: Integration</a:t>
            </a:r>
            <a:br>
              <a:rPr lang="de-DE" b="1" dirty="0"/>
            </a:br>
            <a:r>
              <a:rPr lang="de-DE" b="1" dirty="0"/>
              <a:t>IIII: </a:t>
            </a:r>
            <a:r>
              <a:rPr lang="de-DE" b="1" dirty="0" err="1">
                <a:solidFill>
                  <a:schemeClr val="accent2"/>
                </a:solidFill>
              </a:rPr>
              <a:t>Vergeschlechtlichung</a:t>
            </a:r>
            <a:br>
              <a:rPr lang="de-DE" b="1" dirty="0"/>
            </a:br>
            <a:r>
              <a:rPr lang="de-DE" b="1" dirty="0"/>
              <a:t>                                                  </a:t>
            </a:r>
            <a:r>
              <a:rPr lang="de-DE" sz="1200" dirty="0" err="1"/>
              <a:t>Degele</a:t>
            </a:r>
            <a:r>
              <a:rPr lang="de-DE" sz="1200" dirty="0"/>
              <a:t> &amp; Dries (2005)</a:t>
            </a:r>
            <a:br>
              <a:rPr lang="de-DE" sz="2800" b="0" dirty="0"/>
            </a:br>
            <a:br>
              <a:rPr lang="de-DE" b="1" dirty="0"/>
            </a:br>
            <a:br>
              <a:rPr lang="de-DE" b="1" dirty="0"/>
            </a:br>
            <a:endParaRPr lang="de-DE" b="1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BBE3A1-BA86-4586-8510-822654A4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/>
              <a:t>@.rub.de                                  Fakultät für Sozialwissenschaf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154ED7-2AF3-480F-8141-F661F62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6</a:t>
            </a:fld>
            <a:r>
              <a:rPr lang="de-DE"/>
              <a:t> 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41C8BD3-2FC8-881A-388E-B58A609FDC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84178" y="793483"/>
            <a:ext cx="2783963" cy="2735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9731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Modernisierung: 4) </a:t>
            </a:r>
            <a:r>
              <a:rPr lang="de-DE" altLang="de-DE" sz="2800" dirty="0" err="1">
                <a:latin typeface="Arial" panose="020B0604020202020204" pitchFamily="34" charset="0"/>
                <a:cs typeface="Arial" panose="020B0604020202020204" pitchFamily="34" charset="0"/>
              </a:rPr>
              <a:t>Vergeschlechtlichung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7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897" y="722492"/>
            <a:ext cx="8568000" cy="4029508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/>
              <a:t>Modernisierung</a:t>
            </a:r>
            <a:r>
              <a:rPr lang="de-DE" sz="1800" b="0" dirty="0"/>
              <a:t> erscheint </a:t>
            </a:r>
            <a:r>
              <a:rPr lang="de-DE" sz="1800" dirty="0"/>
              <a:t>zunächst geschlechtsneutral </a:t>
            </a:r>
            <a:r>
              <a:rPr lang="de-DE" sz="1800" b="0" dirty="0"/>
              <a:t>(keine Berücksichtigung bei 7 vorherigen Faktoren)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/>
              <a:t>Jedoch</a:t>
            </a:r>
            <a:r>
              <a:rPr lang="de-DE" sz="1800" b="0" dirty="0"/>
              <a:t> Blick auf Geschlecht </a:t>
            </a:r>
            <a:r>
              <a:rPr lang="de-DE" sz="1800" dirty="0"/>
              <a:t>notwendig </a:t>
            </a:r>
            <a:r>
              <a:rPr lang="de-DE" sz="1800" dirty="0">
                <a:sym typeface="Wingdings" panose="05000000000000000000" pitchFamily="2" charset="2"/>
              </a:rPr>
              <a:t> NICHT geschlechtsneutral</a:t>
            </a:r>
            <a:endParaRPr lang="de-DE" sz="1800" dirty="0"/>
          </a:p>
          <a:p>
            <a:pPr>
              <a:lnSpc>
                <a:spcPct val="100000"/>
              </a:lnSpc>
            </a:pPr>
            <a:r>
              <a:rPr lang="de-DE" sz="1800" b="0" dirty="0"/>
              <a:t>Ausgangsüberlegung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Annahme von (ausschließlich) </a:t>
            </a:r>
            <a:r>
              <a:rPr lang="de-DE" sz="1800" dirty="0"/>
              <a:t>zwei Geschlechtern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Geschlechterdifferenzierung (nach w/m) </a:t>
            </a:r>
            <a:r>
              <a:rPr lang="de-DE" sz="1800" dirty="0"/>
              <a:t>folgt</a:t>
            </a:r>
            <a:r>
              <a:rPr lang="de-DE" sz="1800" b="0" dirty="0"/>
              <a:t> jedoch einer </a:t>
            </a:r>
            <a:r>
              <a:rPr lang="de-DE" sz="1800" dirty="0"/>
              <a:t>hierarchischen Form </a:t>
            </a:r>
            <a:r>
              <a:rPr lang="de-DE" sz="1800" b="0" dirty="0">
                <a:sym typeface="Wingdings" panose="05000000000000000000" pitchFamily="2" charset="2"/>
              </a:rPr>
              <a:t> </a:t>
            </a:r>
            <a:r>
              <a:rPr lang="de-DE" sz="1800" dirty="0">
                <a:sym typeface="Wingdings" panose="05000000000000000000" pitchFamily="2" charset="2"/>
              </a:rPr>
              <a:t>asymmetrisch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>
                <a:sym typeface="Wingdings" panose="05000000000000000000" pitchFamily="2" charset="2"/>
              </a:rPr>
              <a:t>Ungleiche Ressourcen, </a:t>
            </a:r>
            <a:r>
              <a:rPr lang="de-DE" sz="1800" b="0" dirty="0">
                <a:sym typeface="Wingdings" panose="05000000000000000000" pitchFamily="2" charset="2"/>
              </a:rPr>
              <a:t>ungleiche Verteilung </a:t>
            </a:r>
            <a:r>
              <a:rPr lang="de-DE" sz="1800" dirty="0">
                <a:sym typeface="Wingdings" panose="05000000000000000000" pitchFamily="2" charset="2"/>
              </a:rPr>
              <a:t>in Institutionen oder Strukturen</a:t>
            </a:r>
          </a:p>
          <a:p>
            <a:pPr>
              <a:lnSpc>
                <a:spcPct val="100000"/>
              </a:lnSpc>
            </a:pPr>
            <a:endParaRPr lang="de-DE" sz="1800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r>
              <a:rPr lang="de-DE" sz="1800" dirty="0">
                <a:sym typeface="Wingdings" panose="05000000000000000000" pitchFamily="2" charset="2"/>
              </a:rPr>
              <a:t> </a:t>
            </a:r>
            <a:r>
              <a:rPr lang="de-DE" sz="1800" i="1" dirty="0">
                <a:sym typeface="Wingdings" panose="05000000000000000000" pitchFamily="2" charset="2"/>
              </a:rPr>
              <a:t>Modernisierung = Vergeschlechtlichend = Hierarchisch</a:t>
            </a:r>
            <a:endParaRPr lang="de-DE" sz="1800" i="1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BE770AF4-48CA-DCAB-F8E6-53C292B47FB3}"/>
              </a:ext>
            </a:extLst>
          </p:cNvPr>
          <p:cNvSpPr/>
          <p:nvPr/>
        </p:nvSpPr>
        <p:spPr>
          <a:xfrm>
            <a:off x="2931242" y="2980769"/>
            <a:ext cx="1729226" cy="311177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„besser/ schlechter“</a:t>
            </a: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3DA5E70F-7A38-5C04-2C80-0F990E9AEB94}"/>
              </a:ext>
            </a:extLst>
          </p:cNvPr>
          <p:cNvSpPr/>
          <p:nvPr/>
        </p:nvSpPr>
        <p:spPr>
          <a:xfrm>
            <a:off x="4912762" y="2989331"/>
            <a:ext cx="1673715" cy="306306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„weniger/ mehr“</a:t>
            </a:r>
          </a:p>
        </p:txBody>
      </p:sp>
      <p:pic>
        <p:nvPicPr>
          <p:cNvPr id="7" name="Grafik 6" descr="Schließen mit einfarbiger Füllung">
            <a:extLst>
              <a:ext uri="{FF2B5EF4-FFF2-40B4-BE49-F238E27FC236}">
                <a16:creationId xmlns:a16="http://schemas.microsoft.com/office/drawing/2014/main" id="{43F6FB4D-8BFE-DF40-6F1A-533C6E9690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49757" y="941813"/>
            <a:ext cx="522817" cy="52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8465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</p:bld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23349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 err="1">
                <a:latin typeface="Arial" panose="020B0604020202020204" pitchFamily="34" charset="0"/>
                <a:cs typeface="Arial" panose="020B0604020202020204" pitchFamily="34" charset="0"/>
              </a:rPr>
              <a:t>Vergeschlechtlichung</a:t>
            </a: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: Kritik alte Theorien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8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947" y="895388"/>
            <a:ext cx="8317899" cy="3738298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/>
              <a:t>Keine Berücksichtigung </a:t>
            </a:r>
            <a:r>
              <a:rPr lang="de-DE" sz="1800" b="0" dirty="0"/>
              <a:t>in </a:t>
            </a:r>
            <a:r>
              <a:rPr lang="de-DE" sz="1800" b="0" dirty="0">
                <a:solidFill>
                  <a:schemeClr val="accent2"/>
                </a:solidFill>
              </a:rPr>
              <a:t>klassischen</a:t>
            </a:r>
            <a:r>
              <a:rPr lang="de-DE" sz="1800" b="0" dirty="0"/>
              <a:t> Modernisierungstheorien </a:t>
            </a:r>
            <a:r>
              <a:rPr lang="de-DE" sz="1800" dirty="0"/>
              <a:t>vom Geschlecht als Faktor:</a:t>
            </a:r>
          </a:p>
          <a:p>
            <a:pPr marL="342900" indent="-342900">
              <a:lnSpc>
                <a:spcPct val="100000"/>
              </a:lnSpc>
              <a:buAutoNum type="arabicParenR"/>
            </a:pPr>
            <a:r>
              <a:rPr lang="de-DE" sz="1800" b="0" dirty="0"/>
              <a:t>Keine Beachtung von </a:t>
            </a:r>
            <a:r>
              <a:rPr lang="de-DE" sz="1800" i="1" dirty="0"/>
              <a:t>geschlechterkonstituierenden</a:t>
            </a:r>
            <a:r>
              <a:rPr lang="de-DE" sz="1800" dirty="0"/>
              <a:t> Arbeitsteilung</a:t>
            </a:r>
          </a:p>
          <a:p>
            <a:pPr marL="342900" indent="-342900">
              <a:lnSpc>
                <a:spcPct val="100000"/>
              </a:lnSpc>
              <a:buAutoNum type="arabicParenR"/>
            </a:pPr>
            <a:r>
              <a:rPr lang="de-DE" sz="1800" b="0" dirty="0"/>
              <a:t>Daraus resultierenden </a:t>
            </a:r>
            <a:r>
              <a:rPr lang="de-DE" sz="1800" dirty="0"/>
              <a:t>Machtverhältnissen </a:t>
            </a:r>
          </a:p>
          <a:p>
            <a:pPr marL="342900" indent="-342900">
              <a:lnSpc>
                <a:spcPct val="100000"/>
              </a:lnSpc>
              <a:buAutoNum type="arabicParenR"/>
            </a:pPr>
            <a:r>
              <a:rPr lang="de-DE" sz="1800" b="0" dirty="0"/>
              <a:t>Insgesamten </a:t>
            </a:r>
            <a:r>
              <a:rPr lang="de-DE" sz="1800" dirty="0"/>
              <a:t>Geschlechterungleichheiten</a:t>
            </a:r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accent2"/>
                </a:solidFill>
              </a:rPr>
              <a:t>Neuere</a:t>
            </a:r>
            <a:r>
              <a:rPr lang="de-DE" sz="1800" b="0" dirty="0"/>
              <a:t> Modernisierungstheorien = </a:t>
            </a:r>
            <a:r>
              <a:rPr lang="de-DE" sz="1800" dirty="0"/>
              <a:t>Teilweise</a:t>
            </a:r>
            <a:r>
              <a:rPr lang="de-DE" sz="1800" b="0" dirty="0"/>
              <a:t> </a:t>
            </a:r>
            <a:r>
              <a:rPr lang="de-DE" sz="1800" dirty="0"/>
              <a:t>Berücksichtigung</a:t>
            </a:r>
            <a:r>
              <a:rPr lang="de-DE" sz="1800" b="0" dirty="0"/>
              <a:t> des Geschlechts, jedoch oft </a:t>
            </a:r>
            <a:r>
              <a:rPr lang="de-DE" sz="1800" b="0" dirty="0">
                <a:solidFill>
                  <a:schemeClr val="accent2"/>
                </a:solidFill>
              </a:rPr>
              <a:t>unsystematisch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2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5" name="Grafik 4" descr="Männliches Profil mit einfarbiger Füllung">
            <a:extLst>
              <a:ext uri="{FF2B5EF4-FFF2-40B4-BE49-F238E27FC236}">
                <a16:creationId xmlns:a16="http://schemas.microsoft.com/office/drawing/2014/main" id="{06E08770-493F-491A-77DC-688C93C197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50666" y="-15932"/>
            <a:ext cx="718533" cy="718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676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3B203F9-1E27-4E57-902E-B40C20ADA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181576"/>
            <a:ext cx="8391795" cy="310087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altLang="de-DE" sz="2800" dirty="0" err="1">
                <a:latin typeface="Arial" panose="020B0604020202020204" pitchFamily="34" charset="0"/>
                <a:cs typeface="Arial" panose="020B0604020202020204" pitchFamily="34" charset="0"/>
              </a:rPr>
              <a:t>Vergeschlechtlichung</a:t>
            </a:r>
            <a:r>
              <a:rPr lang="de-DE" altLang="de-DE" sz="2800" dirty="0">
                <a:latin typeface="Arial" panose="020B0604020202020204" pitchFamily="34" charset="0"/>
                <a:cs typeface="Arial" panose="020B0604020202020204" pitchFamily="34" charset="0"/>
              </a:rPr>
              <a:t>: I Theorie: Anthony Giddens</a:t>
            </a:r>
            <a:endParaRPr lang="de-DE" alt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F69610-9E3A-4D99-BF17-16DDE17C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4752000"/>
            <a:ext cx="252000" cy="108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C8FC03C-C266-4645-ABC5-645062898383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9</a:t>
            </a:fld>
            <a:r>
              <a:rPr lang="de-DE" sz="700"/>
              <a:t>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70F7C74-9112-406B-A0CC-08F6DDA1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718533"/>
            <a:ext cx="9521903" cy="3738298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Verbindungstheorie = Berücksichtigung Mikro und Makro (Individuum und Struktur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Unterscheidet zwei Phasen: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1) </a:t>
            </a:r>
            <a:r>
              <a:rPr lang="de-DE" sz="1800" dirty="0"/>
              <a:t>Früh-/Industriemodern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Starke </a:t>
            </a:r>
            <a:r>
              <a:rPr lang="de-DE" sz="1800" dirty="0"/>
              <a:t>geschlechtliche Trennung </a:t>
            </a:r>
            <a:r>
              <a:rPr lang="de-DE" sz="1800" b="0" dirty="0"/>
              <a:t>in Öffentlichkeit (=m) und Privatheit (=w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Geschlechter</a:t>
            </a:r>
            <a:r>
              <a:rPr lang="de-DE" sz="1800" dirty="0"/>
              <a:t>asymmetrische Arbeitsteilung </a:t>
            </a:r>
            <a:r>
              <a:rPr lang="de-DE" sz="1800" b="0" dirty="0"/>
              <a:t>(Erwerbsarbeit (=m) höher bewertet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/>
              <a:t>„Protestantischer </a:t>
            </a:r>
            <a:r>
              <a:rPr lang="de-DE" sz="1800" dirty="0"/>
              <a:t>Ethos</a:t>
            </a:r>
            <a:r>
              <a:rPr lang="de-DE" sz="1800" b="0" dirty="0"/>
              <a:t>“ (Arbeitsethos =Leistung &amp; Fleiß) bezieht sich </a:t>
            </a:r>
            <a:r>
              <a:rPr lang="de-DE" sz="1800" dirty="0"/>
              <a:t>auf Männer </a:t>
            </a:r>
          </a:p>
          <a:p>
            <a:pPr>
              <a:lnSpc>
                <a:spcPct val="100000"/>
              </a:lnSpc>
            </a:pPr>
            <a:r>
              <a:rPr lang="de-DE" sz="1800" b="0" dirty="0"/>
              <a:t>2) </a:t>
            </a:r>
            <a:r>
              <a:rPr lang="de-DE" sz="1800" dirty="0"/>
              <a:t>Spätmodern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/>
              <a:t>Ungleichheit angeprangert </a:t>
            </a:r>
            <a:r>
              <a:rPr lang="de-DE" sz="1800" b="0" dirty="0"/>
              <a:t>von </a:t>
            </a:r>
            <a:r>
              <a:rPr lang="de-DE" sz="1800" dirty="0">
                <a:solidFill>
                  <a:schemeClr val="accent2"/>
                </a:solidFill>
              </a:rPr>
              <a:t>Frauenbewegungen &amp; (Globalisierung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dirty="0"/>
              <a:t>Versuche</a:t>
            </a:r>
            <a:r>
              <a:rPr lang="de-DE" sz="1800" b="0" dirty="0"/>
              <a:t> von </a:t>
            </a:r>
            <a:r>
              <a:rPr lang="de-DE" sz="1800" dirty="0"/>
              <a:t>Gleichberechtigung</a:t>
            </a:r>
            <a:r>
              <a:rPr lang="de-DE" sz="1800" b="0" dirty="0"/>
              <a:t> und </a:t>
            </a:r>
            <a:r>
              <a:rPr lang="de-DE" sz="1800" dirty="0"/>
              <a:t>Demokratisierung</a:t>
            </a:r>
            <a:r>
              <a:rPr lang="de-DE" sz="1800" b="0" dirty="0"/>
              <a:t>sbemühungen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2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>
              <a:lnSpc>
                <a:spcPct val="100000"/>
              </a:lnSpc>
            </a:pPr>
            <a:endParaRPr lang="de-DE" sz="1800" b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9F45625-7754-4CE7-B147-A8EA00188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4752000"/>
            <a:ext cx="6300000" cy="108000"/>
          </a:xfrm>
        </p:spPr>
        <p:txBody>
          <a:bodyPr/>
          <a:lstStyle/>
          <a:p>
            <a:r>
              <a:rPr lang="de-DE" dirty="0"/>
              <a:t>Tutorien Sozialstruktur und sozialer Wandel | stina.</a:t>
            </a:r>
            <a:r>
              <a:rPr lang="de-DE" dirty="0" err="1"/>
              <a:t>runtemund</a:t>
            </a:r>
            <a:r>
              <a:rPr lang="de-DE" dirty="0"/>
              <a:t>@.rub.de                                  Fakultät für Sozialwissenschaft</a:t>
            </a:r>
          </a:p>
        </p:txBody>
      </p:sp>
      <p:pic>
        <p:nvPicPr>
          <p:cNvPr id="5" name="Grafik 4" descr="Männliches Profil mit einfarbiger Füllung">
            <a:extLst>
              <a:ext uri="{FF2B5EF4-FFF2-40B4-BE49-F238E27FC236}">
                <a16:creationId xmlns:a16="http://schemas.microsoft.com/office/drawing/2014/main" id="{06E08770-493F-491A-77DC-688C93C197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15639" y="0"/>
            <a:ext cx="718533" cy="718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04114"/>
      </p:ext>
    </p:extLst>
  </p:cSld>
  <p:clrMapOvr>
    <a:masterClrMapping/>
  </p:clrMapOvr>
  <p:extLst>
    <p:ext uri="{3A86A75C-4F4B-4683-9AE1-C65F6400EC91}">
      <p14:laserTraceLst xmlns:p14="http://schemas.microsoft.com/office/powerpoint/2010/main">
        <p14:tracePtLst>
          <p14:tracePt t="993" x="9050338" y="2784475"/>
          <p14:tracePt t="1000" x="8934450" y="2811463"/>
          <p14:tracePt t="1008" x="8826500" y="2836863"/>
          <p14:tracePt t="1015" x="8755063" y="2863850"/>
          <p14:tracePt t="1024" x="8737600" y="2873375"/>
          <p14:tracePt t="1030" x="8616950" y="2949575"/>
          <p14:tracePt t="1038" x="8509000" y="3011488"/>
          <p14:tracePt t="1046" x="8432800" y="3065463"/>
          <p14:tracePt t="1052" x="8375650" y="3114675"/>
          <p14:tracePt t="1060" x="8316913" y="3168650"/>
          <p14:tracePt t="1067" x="8277225" y="3208338"/>
          <p14:tracePt t="1076" x="8223250" y="3267075"/>
          <p14:tracePt t="1082" x="8183563" y="3316288"/>
          <p14:tracePt t="1092" x="8147050" y="3355975"/>
          <p14:tracePt t="1097" x="8120063" y="3395663"/>
          <p14:tracePt t="1105" x="8107363" y="3417888"/>
          <p14:tracePt t="1113" x="8097838" y="3436938"/>
          <p14:tracePt t="1120" x="8089900" y="3449638"/>
          <p14:tracePt t="1128" x="8089900" y="3459163"/>
          <p14:tracePt t="1134" x="8085138" y="3471863"/>
          <p14:tracePt t="1141" x="8085138" y="3476625"/>
          <p14:tracePt t="1149" x="8085138" y="3486150"/>
          <p14:tracePt t="1164" x="8085138" y="3489325"/>
          <p14:tracePt t="1172" x="8085138" y="3494088"/>
          <p14:tracePt t="1187" x="8085138" y="3498850"/>
          <p14:tracePt t="35128" x="8043863" y="3417888"/>
          <p14:tracePt t="35135" x="8018463" y="3373438"/>
          <p14:tracePt t="35143" x="7999413" y="3346450"/>
          <p14:tracePt t="35151" x="7991475" y="3333750"/>
          <p14:tracePt t="35160" x="7981950" y="3324225"/>
          <p14:tracePt t="35165" x="7977188" y="3321050"/>
          <p14:tracePt t="35173" x="7969250" y="3311525"/>
          <p14:tracePt t="35180" x="7959725" y="3297238"/>
          <p14:tracePt t="35188" x="7920038" y="3222625"/>
          <p14:tracePt t="35196" x="7851775" y="3038475"/>
          <p14:tracePt t="35203" x="7821613" y="2940050"/>
          <p14:tracePt t="35210" x="7799388" y="2851150"/>
          <p14:tracePt t="35218" x="7762875" y="2708275"/>
          <p14:tracePt t="35225" x="7731125" y="2516188"/>
          <p14:tracePt t="35232" x="7700963" y="2336800"/>
          <p14:tracePt t="35241" x="7678738" y="2132013"/>
          <p14:tracePt t="35247" x="7642225" y="1935163"/>
          <p14:tracePt t="35255" x="7629525" y="1831975"/>
          <p14:tracePt t="35262" x="7610475" y="1716088"/>
          <p14:tracePt t="35270" x="7593013" y="1595438"/>
          <p14:tracePt t="35277" x="7580313" y="1506538"/>
          <p14:tracePt t="35285" x="7561263" y="1403350"/>
          <p14:tracePt t="35292" x="7548563" y="1300163"/>
          <p14:tracePt t="35299" x="7521575" y="1174750"/>
          <p14:tracePt t="35309" x="7508875" y="1085850"/>
          <p14:tracePt t="35315" x="7486650" y="1004888"/>
          <p14:tracePt t="35322" x="7459663" y="903288"/>
          <p14:tracePt t="35329" x="7440613" y="782638"/>
          <p14:tracePt t="35337" x="7427913" y="692150"/>
          <p14:tracePt t="35344" x="7427913" y="620713"/>
          <p14:tracePt t="35352" x="7427913" y="531813"/>
          <p14:tracePt t="35359" x="7432675" y="442913"/>
          <p14:tracePt t="35367" x="7445375" y="352425"/>
          <p14:tracePt t="35375" x="7467600" y="280988"/>
          <p14:tracePt t="35381" x="7499350" y="196850"/>
          <p14:tracePt t="35389" x="7499350" y="182563"/>
          <p14:tracePt t="35398" x="7504113" y="179388"/>
          <p14:tracePt t="35404" x="7504113" y="174625"/>
          <p14:tracePt t="35418" x="7504113" y="169863"/>
          <p14:tracePt t="36059" x="7624763" y="393700"/>
          <p14:tracePt t="36066" x="7624763" y="401638"/>
          <p14:tracePt t="36076" x="7785100" y="692150"/>
          <p14:tracePt t="36081" x="7834313" y="795338"/>
          <p14:tracePt t="36088" x="7920038" y="952500"/>
          <p14:tracePt t="36096" x="7991475" y="1108075"/>
          <p14:tracePt t="36103" x="8048625" y="1243013"/>
          <p14:tracePt t="36111" x="8097838" y="1376363"/>
          <p14:tracePt t="36118" x="8124825" y="1447800"/>
          <p14:tracePt t="36126" x="8164513" y="1524000"/>
          <p14:tracePt t="36133" x="8191500" y="1600200"/>
          <p14:tracePt t="36142" x="8213725" y="1654175"/>
          <p14:tracePt t="36148" x="8237538" y="1711325"/>
          <p14:tracePt t="36156" x="8262938" y="1751013"/>
          <p14:tracePt t="36163" x="8277225" y="1797050"/>
          <p14:tracePt t="36171" x="8294688" y="1836738"/>
          <p14:tracePt t="36178" x="8316913" y="1876425"/>
          <p14:tracePt t="36186" x="8331200" y="1917700"/>
          <p14:tracePt t="36192" x="8348663" y="1957388"/>
          <p14:tracePt t="36200" x="8361363" y="1992313"/>
          <p14:tracePt t="36210" x="8366125" y="2006600"/>
          <p14:tracePt t="36215" x="8380413" y="2041525"/>
          <p14:tracePt t="36223" x="8388350" y="2073275"/>
          <p14:tracePt t="36230" x="8393113" y="2087563"/>
          <p14:tracePt t="36237" x="8397875" y="2095500"/>
          <p14:tracePt t="36246" x="8397875" y="2105025"/>
          <p14:tracePt t="36252" x="8397875" y="2109788"/>
          <p14:tracePt t="36261" x="8397875" y="2112963"/>
          <p14:tracePt t="36276" x="8397875" y="2117725"/>
          <p14:tracePt t="36282" x="8397875" y="2122488"/>
          <p14:tracePt t="36297" x="8397875" y="2127250"/>
          <p14:tracePt t="36305" x="8397875" y="2132013"/>
          <p14:tracePt t="36327" x="8402638" y="2132013"/>
          <p14:tracePt t="36334" x="8405813" y="2132013"/>
          <p14:tracePt t="36342" x="8415338" y="2136775"/>
          <p14:tracePt t="36348" x="8424863" y="2136775"/>
          <p14:tracePt t="36357" x="8432800" y="2136775"/>
          <p14:tracePt t="36364" x="8442325" y="2139950"/>
          <p14:tracePt t="36371" x="8451850" y="2139950"/>
          <p14:tracePt t="36379" x="8459788" y="2139950"/>
          <p14:tracePt t="36387" x="8469313" y="2139950"/>
          <p14:tracePt t="36394" x="8482013" y="2139950"/>
          <p14:tracePt t="36401" x="8496300" y="2139950"/>
          <p14:tracePt t="36410" x="8518525" y="2139950"/>
          <p14:tracePt t="36416" x="8550275" y="2139950"/>
          <p14:tracePt t="36426" x="8594725" y="2149475"/>
          <p14:tracePt t="36431" x="8643938" y="2154238"/>
          <p14:tracePt t="36439" x="8678863" y="2162175"/>
          <p14:tracePt t="36446" x="8720138" y="2176463"/>
          <p14:tracePt t="36454" x="8755063" y="2185988"/>
          <p14:tracePt t="36461" x="8794750" y="2198688"/>
          <p14:tracePt t="36469" x="8826500" y="2225675"/>
          <p14:tracePt t="36476" x="8843963" y="2243138"/>
          <p14:tracePt t="36483" x="8870950" y="2274888"/>
          <p14:tracePt t="36493" x="8893175" y="2297113"/>
          <p14:tracePt t="36498" x="8902700" y="2319338"/>
          <p14:tracePt t="36506" x="8920163" y="2336800"/>
          <p14:tracePt t="36513" x="8924925" y="2346325"/>
          <p14:tracePt t="36521" x="8934450" y="2354263"/>
          <p14:tracePt t="36530" x="8937625" y="2359025"/>
          <p14:tracePt t="36535" x="8942388" y="2368550"/>
          <p14:tracePt t="36550" x="8947150" y="2368550"/>
          <p14:tracePt t="36559" x="8951913" y="2378075"/>
          <p14:tracePt t="36573" x="8956675" y="2386013"/>
          <p14:tracePt t="36580" x="8961438" y="2386013"/>
          <p14:tracePt t="36588" x="8964613" y="2395538"/>
          <p14:tracePt t="36595" x="8978900" y="2400300"/>
          <p14:tracePt t="36603" x="8991600" y="2413000"/>
          <p14:tracePt t="36610" x="9005888" y="2422525"/>
          <p14:tracePt t="36618" x="9023350" y="2430463"/>
          <p14:tracePt t="36627" x="9036050" y="2439988"/>
          <p14:tracePt t="36632" x="9059863" y="2452688"/>
          <p14:tracePt t="36640" x="9082088" y="2471738"/>
          <p14:tracePt t="36647" x="9121775" y="2479675"/>
        </p14:tracePtLst>
      </p14:laserTraceLst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dcae5b4-0b45-41e0-b5e6-32c713f6a487"/>
  <p:tag name="MIO_EKGUID" val="d6d8f022-aea9-4976-9c74-231287008c88"/>
  <p:tag name="MIO_UPDATE" val="True"/>
  <p:tag name="MIO_VERSION" val="26.10.2018 15:45:09"/>
  <p:tag name="MIO_DBID" val="364BA404-45B5-45E1-875B-889C83467CBF"/>
  <p:tag name="MIO_LASTDOWNLOADED" val="26.10.2018 15:45:09"/>
  <p:tag name="MIO_OBJECTNAME" val="ADAPTION – Migration zum Cyber-physischen PRODUKTIONSSYSTEM"/>
  <p:tag name="MIO_LASTEDITORNAME" val="Stefan Leineweber"/>
  <p:tag name="MIO_STRING_IGNORE_CHECKSUM_FOR_NEXT_SAV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theme1.xml><?xml version="1.0" encoding="utf-8"?>
<a:theme xmlns:a="http://schemas.openxmlformats.org/drawingml/2006/main" name="PowerPoint Master RUB">
  <a:themeElements>
    <a:clrScheme name="RUB">
      <a:dk1>
        <a:sysClr val="windowText" lastClr="000000"/>
      </a:dk1>
      <a:lt1>
        <a:sysClr val="window" lastClr="FFFFFF"/>
      </a:lt1>
      <a:dk2>
        <a:srgbClr val="003560"/>
      </a:dk2>
      <a:lt2>
        <a:srgbClr val="8DAE10"/>
      </a:lt2>
      <a:accent1>
        <a:srgbClr val="FFCC00"/>
      </a:accent1>
      <a:accent2>
        <a:srgbClr val="EE7203"/>
      </a:accent2>
      <a:accent3>
        <a:srgbClr val="E6332A"/>
      </a:accent3>
      <a:accent4>
        <a:srgbClr val="B71E3F"/>
      </a:accent4>
      <a:accent5>
        <a:srgbClr val="9C5516"/>
      </a:accent5>
      <a:accent6>
        <a:srgbClr val="59211C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RUB_03a.potx" id="{C867D821-36E8-4CDA-B68D-4949E463F39D}" vid="{F84F8B3F-9528-42A9-B5AE-3004D541450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13</Words>
  <Application>Microsoft Office PowerPoint</Application>
  <PresentationFormat>Bildschirmpräsentation (16:9)</PresentationFormat>
  <Paragraphs>237</Paragraphs>
  <Slides>21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6" baseType="lpstr">
      <vt:lpstr>Arial</vt:lpstr>
      <vt:lpstr>Calibri</vt:lpstr>
      <vt:lpstr>Calibri-Bold</vt:lpstr>
      <vt:lpstr>Wingdings</vt:lpstr>
      <vt:lpstr>PowerPoint Master RUB</vt:lpstr>
      <vt:lpstr>Tutorium zur VL. Sitzung (11) und (12)</vt:lpstr>
      <vt:lpstr> Modernisierung: Das Acht-Faktoren-Modell</vt:lpstr>
      <vt:lpstr>Modernisierung: (Erweiterung)  I: Beschleunigung II: Globalisierung III: Integration IIII: Vergeschlechtlichung                                                   Degele &amp; Dries (2005)   </vt:lpstr>
      <vt:lpstr>Modernisierung: 3) Integration</vt:lpstr>
      <vt:lpstr>3) Integration: I Theorie: Niklas Luhmann</vt:lpstr>
      <vt:lpstr>Modernisierung: (Erweiterung)  I: Beschleunigung II: Globalisierung III: Integration IIII: Vergeschlechtlichung                                                   Degele &amp; Dries (2005)   </vt:lpstr>
      <vt:lpstr>Modernisierung: 4) Vergeschlechtlichung</vt:lpstr>
      <vt:lpstr>Vergeschlechtlichung: Kritik alte Theorien</vt:lpstr>
      <vt:lpstr>Vergeschlechtlichung: I Theorie: Anthony Giddens</vt:lpstr>
      <vt:lpstr>Fazit zur Vergeschlechtlichung</vt:lpstr>
      <vt:lpstr>Zusammenfassung der vier neuen Amvibaloxa II</vt:lpstr>
      <vt:lpstr>PowerPoint-Präsentation</vt:lpstr>
      <vt:lpstr>Fazit Modernisierung</vt:lpstr>
      <vt:lpstr>Modernisierung Zukunft: Jürgen Habermas</vt:lpstr>
      <vt:lpstr>Modernisierung Zukunft: Anthony Giddens</vt:lpstr>
      <vt:lpstr>Modernisierung: Trend- Ausbreitung der Moderne  </vt:lpstr>
      <vt:lpstr>Lernziele: siebte Sitzung I VL. (10) und (11)</vt:lpstr>
      <vt:lpstr>Ausblick: nächste Sitzung </vt:lpstr>
      <vt:lpstr>Ausblick: nächste Sitzung </vt:lpstr>
      <vt:lpstr>Modernisierung Zukunft: Ulrich Beck</vt:lpstr>
      <vt:lpstr>Modernisierung Zukunft: ohne speziellen Autor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Sozialwissenschaft</dc:title>
  <dc:creator>vanessa rau</dc:creator>
  <cp:lastModifiedBy>Stina Ru</cp:lastModifiedBy>
  <cp:revision>5</cp:revision>
  <cp:lastPrinted>2022-04-21T15:49:35Z</cp:lastPrinted>
  <dcterms:created xsi:type="dcterms:W3CDTF">2020-06-22T16:14:58Z</dcterms:created>
  <dcterms:modified xsi:type="dcterms:W3CDTF">2022-12-07T11:19:30Z</dcterms:modified>
</cp:coreProperties>
</file>